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comments/modernComment_7FFFDB38_7C2A24B0.xml" ContentType="application/vnd.ms-powerpoint.comments+xml"/>
  <Override PartName="/ppt/comments/modernComment_7FFFDB3E_C22E3EDF.xml" ContentType="application/vnd.ms-powerpoint.comment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7FFFDB52_7A31F063.xml" ContentType="application/vnd.ms-powerpoint.comments+xml"/>
  <Override PartName="/ppt/notesSlides/notesSlide4.xml" ContentType="application/vnd.openxmlformats-officedocument.presentationml.notesSlide+xml"/>
  <Override PartName="/ppt/comments/modernComment_7FFFDB3D_6E9DAD82.xml" ContentType="application/vnd.ms-powerpoint.comments+xml"/>
  <Override PartName="/ppt/comments/modernComment_7FFFDB4A_FF53947E.xml" ContentType="application/vnd.ms-powerpoint.comments+xml"/>
  <Override PartName="/ppt/notesSlides/notesSlide5.xml" ContentType="application/vnd.openxmlformats-officedocument.presentationml.notesSlide+xml"/>
  <Override PartName="/ppt/comments/modernComment_7FFFDB4C_BEA9A440.xml" ContentType="application/vnd.ms-powerpoint.comments+xml"/>
  <Override PartName="/ppt/notesSlides/notesSlide6.xml" ContentType="application/vnd.openxmlformats-officedocument.presentationml.notesSlide+xml"/>
  <Override PartName="/ppt/comments/modernComment_7FFFDB54_14F4954.xml" ContentType="application/vnd.ms-powerpoint.comments+xml"/>
  <Override PartName="/ppt/notesSlides/notesSlide7.xml" ContentType="application/vnd.openxmlformats-officedocument.presentationml.notesSlide+xml"/>
  <Override PartName="/ppt/comments/modernComment_7FFFDB37_502A4424.xml" ContentType="application/vnd.ms-powerpoint.comments+xml"/>
  <Override PartName="/ppt/comments/modernComment_7FFFDB55_3DE116AA.xml" ContentType="application/vnd.ms-powerpoint.comments+xml"/>
  <Override PartName="/ppt/notesSlides/notesSlide8.xml" ContentType="application/vnd.openxmlformats-officedocument.presentationml.notesSlide+xml"/>
  <Override PartName="/ppt/comments/modernComment_7FFFDB57_EDC3333.xml" ContentType="application/vnd.ms-powerpoint.comment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modernComment_7FFFDB56_66BAECF4.xml" ContentType="application/vnd.ms-powerpoint.comments+xml"/>
  <Override PartName="/ppt/notesSlides/notesSlide1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5"/>
  </p:notesMasterIdLst>
  <p:sldIdLst>
    <p:sldId id="256" r:id="rId3"/>
    <p:sldId id="2147474228" r:id="rId4"/>
    <p:sldId id="2147474232" r:id="rId5"/>
    <p:sldId id="2147474238" r:id="rId6"/>
    <p:sldId id="2147474249" r:id="rId7"/>
    <p:sldId id="2147474251" r:id="rId8"/>
    <p:sldId id="2147474248" r:id="rId9"/>
    <p:sldId id="2147474258" r:id="rId10"/>
    <p:sldId id="2147474237" r:id="rId11"/>
    <p:sldId id="2147474250" r:id="rId12"/>
    <p:sldId id="2147474252" r:id="rId13"/>
    <p:sldId id="2147474260" r:id="rId14"/>
    <p:sldId id="2147474231" r:id="rId15"/>
    <p:sldId id="2147474239" r:id="rId16"/>
    <p:sldId id="2147474261" r:id="rId17"/>
    <p:sldId id="2147474263" r:id="rId18"/>
    <p:sldId id="2147474267" r:id="rId19"/>
    <p:sldId id="2147474269" r:id="rId20"/>
    <p:sldId id="2147474264" r:id="rId21"/>
    <p:sldId id="2147474268" r:id="rId22"/>
    <p:sldId id="2147474262" r:id="rId23"/>
    <p:sldId id="2147474265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B4EA0C-5114-CDE6-CC9D-F686F8E73BCE}" name="David Dai" initials="DD" userId="S::daviddai@microsoft.com::7ae6d6f7-2e50-43bd-bd2f-bc0eb37aba0c" providerId="AD"/>
  <p188:author id="{9D20A6BC-22D6-A042-ABC9-E58A3E1BCAA7}" name="Yi Zhang (MS Ads)" initials="" userId="S::yizhang6@microsoft.com::0422b2ef-ecdf-4300-805c-ba7c4497a2c7" providerId="AD"/>
  <p188:author id="{619AECCC-C7B2-25D4-F785-545A5C1EA442}" name="Michelle Lei" initials="ML" userId="S::welei@microsoft.com::87a8975d-79a4-4174-8a77-73b737ed867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26" autoAdjust="0"/>
    <p:restoredTop sz="94660"/>
  </p:normalViewPr>
  <p:slideViewPr>
    <p:cSldViewPr snapToGrid="0">
      <p:cViewPr varScale="1">
        <p:scale>
          <a:sx n="67" d="100"/>
          <a:sy n="67" d="100"/>
        </p:scale>
        <p:origin x="72" y="14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comments/modernComment_7FFFDB37_502A442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62E02DA-F44F-4FE2-9D13-C9774C292B1F}" authorId="{73B4EA0C-5114-CDE6-CC9D-F686F8E73BCE}" created="2025-10-14T04:18:43.324">
    <pc:sldMkLst xmlns:pc="http://schemas.microsoft.com/office/powerpoint/2013/main/command">
      <pc:docMk/>
      <pc:sldMk cId="1344947236" sldId="2147474231"/>
    </pc:sldMkLst>
    <p188:txBody>
      <a:bodyPr/>
      <a:lstStyle/>
      <a:p>
        <a:r>
          <a:rPr lang="en-US"/>
          <a:t>TODO: technical decisions and why [@Yi Zhang (MS Ads)] </a:t>
        </a:r>
      </a:p>
    </p188:txBody>
  </p188:cm>
</p188:cmLst>
</file>

<file path=ppt/comments/modernComment_7FFFDB38_7C2A24B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CEFC77C-1365-46DC-A5A7-F040FA5D3882}" authorId="{73B4EA0C-5114-CDE6-CC9D-F686F8E73BCE}" created="2025-10-14T04:19:48.409">
    <pc:sldMkLst xmlns:pc="http://schemas.microsoft.com/office/powerpoint/2013/main/command">
      <pc:docMk/>
      <pc:sldMk cId="2083136688" sldId="2147474232"/>
    </pc:sldMkLst>
    <p188:replyLst>
      <p188:reply id="{214E6D78-5D0E-4A73-A459-F32E13EE3098}" authorId="{73B4EA0C-5114-CDE6-CC9D-F686F8E73BCE}" created="2025-10-14T05:30:56.237">
        <p188:txBody>
          <a:bodyPr/>
          <a:lstStyle/>
          <a:p>
            <a:r>
              <a:rPr lang="en-US"/>
              <a:t>1. Record the task-solving process
2. Edit the video to highlight key steps
3. Add captions or annotations to clearly illustrate the workflow</a:t>
            </a:r>
          </a:p>
        </p188:txBody>
      </p188:reply>
    </p188:replyLst>
    <p188:txBody>
      <a:bodyPr/>
      <a:lstStyle/>
      <a:p>
        <a:r>
          <a:rPr lang="en-US"/>
          <a:t>TODO: video demo [@Yi Zhang (MS Ads)] </a:t>
        </a:r>
      </a:p>
    </p188:txBody>
  </p188:cm>
</p188:cmLst>
</file>

<file path=ppt/comments/modernComment_7FFFDB3D_6E9DAD8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F066EB2-1066-4F5E-94D6-B438A7E485BA}" authorId="{9D20A6BC-22D6-A042-ABC9-E58A3E1BCAA7}" created="2025-10-14T02:53:15.53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55827330" sldId="2147474237"/>
      <ac:graphicFrameMk id="5" creationId="{5C68E228-68AC-EB53-3D5D-4603E6C02D87}"/>
    </ac:deMkLst>
    <p188:txBody>
      <a:bodyPr/>
      <a:lstStyle/>
      <a:p>
        <a:r>
          <a:rPr lang="en-US"/>
          <a:t>add a chart for done and plan</a:t>
        </a:r>
      </a:p>
    </p188:txBody>
  </p188:cm>
</p188:cmLst>
</file>

<file path=ppt/comments/modernComment_7FFFDB3E_C22E3ED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D1A0B41-C04A-4C3F-83DC-5228F295CDAB}" authorId="{9D20A6BC-22D6-A042-ABC9-E58A3E1BCAA7}" created="2025-10-14T02:42:06.67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257810655" sldId="2147474238"/>
      <ac:spMk id="6" creationId="{DD1BE7B7-E4B4-FE45-8829-5B7C9D297FAD}"/>
      <ac:txMk cp="0" len="36">
        <ac:context len="37" hash="3719643751"/>
      </ac:txMk>
    </ac:txMkLst>
    <p188:pos x="1286178" y="407694"/>
    <p188:txBody>
      <a:bodyPr/>
      <a:lstStyle/>
      <a:p>
        <a:r>
          <a:rPr lang="en-US"/>
          <a:t>Add advantage for not using browser use
- success rate and performance</a:t>
        </a:r>
      </a:p>
    </p188:txBody>
  </p188:cm>
</p188:cmLst>
</file>

<file path=ppt/comments/modernComment_7FFFDB4A_FF53947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F96A83B-2EE2-44DF-8699-672E7F3DDB5E}" authorId="{619AECCC-C7B2-25D4-F785-545A5C1EA442}" created="2025-10-14T03:21:24.308">
    <pc:sldMkLst xmlns:pc="http://schemas.microsoft.com/office/powerpoint/2013/main/command">
      <pc:docMk/>
      <pc:sldMk cId="4283667582" sldId="2147474250"/>
    </pc:sldMkLst>
    <p188:replyLst>
      <p188:reply id="{8E1EA14E-8FBA-4489-83AD-0992D6F7B338}" authorId="{73B4EA0C-5114-CDE6-CC9D-F686F8E73BCE}" created="2025-10-14T05:52:41.072">
        <p188:txBody>
          <a:bodyPr/>
          <a:lstStyle/>
          <a:p>
            <a:r>
              <a:rPr lang="en-US"/>
              <a:t>Sure, [@Yi Zhang (MS Ads)]  please organize the tools by category</a:t>
            </a:r>
          </a:p>
        </p188:txBody>
      </p188:reply>
    </p188:replyLst>
    <p188:txBody>
      <a:bodyPr/>
      <a:lstStyle/>
      <a:p>
        <a:r>
          <a:rPr lang="en-US"/>
          <a:t>Can we group them into categories? </a:t>
        </a:r>
      </a:p>
    </p188:txBody>
  </p188:cm>
</p188:cmLst>
</file>

<file path=ppt/comments/modernComment_7FFFDB4C_BEA9A44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1A1F67E-1408-4E4A-99ED-148FD4831FBB}" authorId="{9D20A6BC-22D6-A042-ABC9-E58A3E1BCAA7}" created="2025-10-14T03:02:51.843">
    <pc:sldMkLst xmlns:pc="http://schemas.microsoft.com/office/powerpoint/2013/main/command">
      <pc:docMk/>
      <pc:sldMk cId="3198788672" sldId="2147474252"/>
    </pc:sldMkLst>
    <p188:txBody>
      <a:bodyPr/>
      <a:lstStyle/>
      <a:p>
        <a:r>
          <a:rPr lang="en-US"/>
          <a:t>Tool profile + caller (user profile)</a:t>
        </a:r>
      </a:p>
    </p188:txBody>
  </p188:cm>
</p188:cmLst>
</file>

<file path=ppt/comments/modernComment_7FFFDB52_7A31F06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9FB03FD-4E11-45D9-99F1-C4C0B84CA1D1}" authorId="{73B4EA0C-5114-CDE6-CC9D-F686F8E73BCE}" created="2025-10-14T05:43:07.187">
    <pc:sldMkLst xmlns:pc="http://schemas.microsoft.com/office/powerpoint/2013/main/command">
      <pc:docMk/>
      <pc:sldMk cId="2050093155" sldId="2147474258"/>
    </pc:sldMkLst>
    <p188:txBody>
      <a:bodyPr/>
      <a:lstStyle/>
      <a:p>
        <a:r>
          <a:rPr lang="en-US"/>
          <a:t>[@Yi Zhang (MS Ads)]  please fill out the numbers and refine the slide</a:t>
        </a:r>
      </a:p>
    </p188:txBody>
  </p188:cm>
</p188:cmLst>
</file>

<file path=ppt/comments/modernComment_7FFFDB54_14F495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EC0D8B-A62F-4F6C-9FCA-80275BF66C3C}" authorId="{9D20A6BC-22D6-A042-ABC9-E58A3E1BCAA7}" created="2025-10-14T03:02:51.843">
    <pc:sldMkLst xmlns:pc="http://schemas.microsoft.com/office/powerpoint/2013/main/command">
      <pc:docMk/>
      <pc:sldMk cId="3198788672" sldId="2147474252"/>
    </pc:sldMkLst>
    <p188:txBody>
      <a:bodyPr/>
      <a:lstStyle/>
      <a:p>
        <a:r>
          <a:rPr lang="en-US"/>
          <a:t>Tool profile + caller (user profile)</a:t>
        </a:r>
      </a:p>
    </p188:txBody>
  </p188:cm>
</p188:cmLst>
</file>

<file path=ppt/comments/modernComment_7FFFDB55_3DE116A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27AB853-0F12-4CAE-99CE-113A5A557C77}" authorId="{73B4EA0C-5114-CDE6-CC9D-F686F8E73BCE}" created="2025-10-17T01:54:24.416">
    <pc:sldMkLst xmlns:pc="http://schemas.microsoft.com/office/powerpoint/2013/main/command">
      <pc:docMk/>
      <pc:sldMk cId="1038161578" sldId="2147474261"/>
    </pc:sldMkLst>
    <p188:txBody>
      <a:bodyPr/>
      <a:lstStyle/>
      <a:p>
        <a:r>
          <a:rPr lang="en-US"/>
          <a:t>[@Jiayu Lou]  please help fill this up</a:t>
        </a:r>
      </a:p>
    </p188:txBody>
  </p188:cm>
</p188:cmLst>
</file>

<file path=ppt/comments/modernComment_7FFFDB56_66BAECF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FF1B47D-4FF4-4EE9-B6B7-A91905FDE6E5}" authorId="{73B4EA0C-5114-CDE6-CC9D-F686F8E73BCE}" created="2025-10-17T02:00:49.066">
    <pc:sldMkLst xmlns:pc="http://schemas.microsoft.com/office/powerpoint/2013/main/command">
      <pc:docMk/>
      <pc:sldMk cId="1723526388" sldId="2147474262"/>
    </pc:sldMkLst>
    <p188:replyLst>
      <p188:reply id="{D51381D4-BD2F-412A-AD00-31F547961D9D}" authorId="{73B4EA0C-5114-CDE6-CC9D-F686F8E73BCE}" created="2025-10-17T09:27:53.108">
        <p188:txBody>
          <a:bodyPr/>
          <a:lstStyle/>
          <a:p>
            <a:r>
              <a:rPr lang="en-US"/>
              <a:t>[@Yi Zhang (MS Ads)]  how is it related to MCP/A2A?</a:t>
            </a:r>
          </a:p>
        </p188:txBody>
      </p188:reply>
    </p188:replyLst>
    <p188:txBody>
      <a:bodyPr/>
      <a:lstStyle/>
      <a:p>
        <a:r>
          <a:rPr lang="en-US"/>
          <a:t>[@Yi Zhang (MS Ads)]  Let’s describe our A2M protocol here.</a:t>
        </a:r>
      </a:p>
    </p188:txBody>
  </p188:cm>
</p188:cmLst>
</file>

<file path=ppt/comments/modernComment_7FFFDB57_EDC333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6435271-2127-4120-8054-8D97ECF8891C}" authorId="{73B4EA0C-5114-CDE6-CC9D-F686F8E73BCE}" created="2025-10-17T01:59:41.269">
    <pc:sldMkLst xmlns:pc="http://schemas.microsoft.com/office/powerpoint/2013/main/command">
      <pc:docMk/>
      <pc:sldMk cId="249312051" sldId="2147474263"/>
    </pc:sldMkLst>
    <p188:txBody>
      <a:bodyPr/>
      <a:lstStyle/>
      <a:p>
        <a:r>
          <a:rPr lang="en-US"/>
          <a:t>[@Jiapeng Yang]  please add your research summary her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D5BA55-10EF-4D39-AFE7-725B8A265F50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4EA9FC-EBE1-40D2-BDC1-09A289005E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36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ibabacloud.com/blog/how-to-achieve-autonomous-discovery-and-use-of-mcp-services-by-ai-agents---nacos-mcp-router-deployment-best-practices_602464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Question about script, matched tools could have YouTube transcript, but eventually not selected by LLM as not fit in the task cont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0801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>
                <a:latin typeface="Calibri"/>
                <a:ea typeface="等线"/>
                <a:cs typeface="Calibri"/>
              </a:rPr>
              <a:t>这张图是实验的结果,实验结果显示,用消息传递的方式进行prompt的优化都与直接放入prompt中一样好甚至更好</a:t>
            </a:r>
          </a:p>
          <a:p>
            <a:endParaRPr lang="zh-CN" altLang="en-US">
              <a:latin typeface="等线"/>
              <a:ea typeface="等线"/>
              <a:cs typeface="Calibri"/>
            </a:endParaRPr>
          </a:p>
          <a:p>
            <a:r>
              <a:rPr lang="zh-CN" altLang="en-US">
                <a:latin typeface="等线"/>
                <a:ea typeface="等线"/>
                <a:cs typeface="Calibri"/>
              </a:rPr>
              <a:t>而且在claude3和gpt4o系列的模型中,用动态消息传递方式的实验效果是最好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601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>
                <a:latin typeface="Calibri"/>
                <a:ea typeface="等线"/>
                <a:cs typeface="Calibri"/>
              </a:rPr>
              <a:t>响应模式按照RTO的方式去进行,也就是reasoning ,tool call,output的方式,每一个rto都是最小单元</a:t>
            </a:r>
            <a:endParaRPr lang="en-US" altLang="zh-CN">
              <a:latin typeface="Calibri"/>
              <a:ea typeface="Calibri"/>
              <a:cs typeface="Calibri"/>
            </a:endParaRPr>
          </a:p>
          <a:p>
            <a:endParaRPr lang="zh-CN" altLang="en-US">
              <a:latin typeface="Calibri"/>
              <a:ea typeface="等线"/>
              <a:cs typeface="Calibri"/>
            </a:endParaRPr>
          </a:p>
          <a:p>
            <a:r>
              <a:rPr lang="zh-CN" altLang="en-US">
                <a:latin typeface="Calibri"/>
                <a:ea typeface="等线"/>
                <a:cs typeface="Calibri"/>
              </a:rPr>
              <a:t>用户的输入和可用的tool set会一起给到agent,然后agent先进行think,然后去调用对应的tool,产生response之后,对tool的调用进行奖励评估,主要是在tool name,tool的参数名字,和tool 参数的内容进行匹配评估,如果匹配成功,则奖励为1.此外,还有一个结果奖励,也就是每一个task的最终结果是否正确. 还有格式奖励,也就是&lt;think&gt; &lt;tool_call&gt;&lt;response&gt;标签正确使用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3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f-ZA" altLang="zh-CN">
                <a:ea typeface="等线"/>
              </a:rPr>
              <a:t>Qwen2.5-1.5B-Instruct(Raw) 是baseline</a:t>
            </a:r>
          </a:p>
          <a:p>
            <a:r>
              <a:rPr lang="af-ZA"/>
              <a:t>Qwen2.5-1.5B-Instruct(SFT+400/4000) </a:t>
            </a:r>
            <a:r>
              <a:rPr lang="zh-CN" altLang="af-ZA">
                <a:ea typeface="等线"/>
              </a:rPr>
              <a:t>后面的数字是SFT的数据集大小</a:t>
            </a:r>
          </a:p>
          <a:p>
            <a:r>
              <a:rPr lang="af-ZA" altLang="zh-CN">
                <a:ea typeface="等线"/>
              </a:rPr>
              <a:t>Qwen2.5-1.5B-Instruct(Ours, GRPOColdStart) 直接使用GRPO,不进行任何其他处理</a:t>
            </a:r>
            <a:endParaRPr 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55154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hlinkClick r:id="rId3"/>
              </a:rPr>
              <a:t>How to Achieve Autonomous Discovery and Use of MCP Services by AI Agents - </a:t>
            </a:r>
            <a:r>
              <a:rPr lang="en-US" err="1">
                <a:hlinkClick r:id="rId3"/>
              </a:rPr>
              <a:t>Nacos</a:t>
            </a:r>
            <a:r>
              <a:rPr lang="en-US">
                <a:hlinkClick r:id="rId3"/>
              </a:rPr>
              <a:t> MCP Router Deployment Best Practices - Alibaba Cloud Community</a:t>
            </a:r>
          </a:p>
          <a:p>
            <a:endParaRPr lang="en-US"/>
          </a:p>
          <a:p>
            <a:r>
              <a:rPr lang="en-US"/>
              <a:t>Marketplace act as a proxy/router between Agents and MCP Servers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0588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77946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ea typeface="Calibri"/>
                <a:cs typeface="Calibri"/>
              </a:rPr>
              <a:t>Multiple YouTube MCP in both </a:t>
            </a:r>
            <a:r>
              <a:rPr lang="en-US" err="1">
                <a:latin typeface="Calibri"/>
                <a:ea typeface="Calibri"/>
                <a:cs typeface="Calibri"/>
              </a:rPr>
              <a:t>Aworld</a:t>
            </a:r>
            <a:r>
              <a:rPr lang="en-US">
                <a:latin typeface="Calibri"/>
                <a:ea typeface="Calibri"/>
                <a:cs typeface="Calibri"/>
              </a:rPr>
              <a:t> and Tool Marketplace, based on the requirements which needs to get video comments details from a YouTube via just by song name, it is better to have a dedicated tools which focus on retrieve these details from API instead of using browser-u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03677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15100B-4EDB-7C73-D137-638A39B656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BEB49E-3B4A-17FA-12DD-E1C4E140EA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F9627C-74B5-7140-389C-4D308AF521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F0E13C-14CE-6A2C-323B-E2EC107B95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256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lestone</a:t>
            </a:r>
            <a:br>
              <a:rPr lang="en-US"/>
            </a:br>
            <a:r>
              <a:rPr lang="en-US"/>
              <a:t>1. tool selection </a:t>
            </a:r>
            <a:r>
              <a:rPr lang="en-US" err="1"/>
              <a:t>mvp</a:t>
            </a:r>
            <a:endParaRPr lang="en-US"/>
          </a:p>
          <a:p>
            <a:r>
              <a:rPr lang="en-US"/>
              <a:t>2. Benchmark</a:t>
            </a:r>
          </a:p>
          <a:p>
            <a:r>
              <a:rPr lang="en-US"/>
              <a:t>3. Protocol </a:t>
            </a:r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3115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9596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F2B26B-F222-11E3-39B9-64B64F953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90673D-3A0C-C297-4E9F-39C6084A1D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592EEC-D339-1427-D4FC-21B100DCBC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01DD5B-0E9D-6149-4858-565E6F0F0A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26513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81622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>
                <a:latin typeface="Calibri"/>
                <a:ea typeface="等线"/>
                <a:cs typeface="Calibri"/>
              </a:rPr>
              <a:t>这个是langchain做的关于prompt的实验,主要分了两个task,第一个task是针对搜索的task,主要是为了验证使用工具的时候,参数是否填充正确.</a:t>
            </a:r>
          </a:p>
          <a:p>
            <a:endParaRPr lang="zh-CN" altLang="en-US">
              <a:latin typeface="等线"/>
              <a:ea typeface="等线"/>
              <a:cs typeface="Calibri"/>
            </a:endParaRPr>
          </a:p>
          <a:p>
            <a:r>
              <a:rPr lang="zh-CN" altLang="en-US">
                <a:latin typeface="Calibri"/>
                <a:ea typeface="等线"/>
                <a:cs typeface="Calibri"/>
              </a:rPr>
              <a:t>第二个task是对于数学多步运算的,目的就是验证tool call的调用路径是否合理,正确.</a:t>
            </a:r>
          </a:p>
          <a:p>
            <a:endParaRPr lang="zh-CN" altLang="en-US">
              <a:latin typeface="Calibri"/>
              <a:ea typeface="等线"/>
              <a:cs typeface="Calibri"/>
            </a:endParaRPr>
          </a:p>
          <a:p>
            <a:r>
              <a:rPr lang="zh-CN" altLang="en-US">
                <a:latin typeface="Calibri"/>
                <a:ea typeface="等线"/>
                <a:cs typeface="Calibri"/>
              </a:rPr>
              <a:t>下面两个分别是两个task的例子</a:t>
            </a:r>
          </a:p>
          <a:p>
            <a:endParaRPr lang="zh-CN" altLang="en-US">
              <a:latin typeface="Calibri"/>
              <a:ea typeface="等线"/>
              <a:cs typeface="Calibri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40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>
                <a:latin typeface="Calibri"/>
                <a:ea typeface="等线"/>
                <a:cs typeface="Calibri"/>
              </a:rPr>
              <a:t>在这次实验中,共分成了5组实验,第一个是baseline,也就是不会放入任何例子.不进行prompt优化.</a:t>
            </a:r>
          </a:p>
          <a:p>
            <a:r>
              <a:rPr lang="zh-CN" altLang="en-US">
                <a:latin typeface="等线"/>
                <a:ea typeface="等线"/>
                <a:cs typeface="Calibri"/>
              </a:rPr>
              <a:t>第二个就是比较新型的prompt方式,是将一些调用tool的例子作为用户和llm交互的方式去进行优化的.</a:t>
            </a:r>
          </a:p>
          <a:p>
            <a:r>
              <a:rPr lang="zh-CN" altLang="en-US">
                <a:latin typeface="等线"/>
                <a:ea typeface="等线"/>
                <a:cs typeface="Calibri"/>
              </a:rPr>
              <a:t>第三个就是在第二个的基础上,在所有的例子库中查找和quey语义相似的例子,然后再以用户和llm交互的方式去优化.</a:t>
            </a:r>
          </a:p>
          <a:p>
            <a:r>
              <a:rPr lang="zh-CN" altLang="en-US">
                <a:latin typeface="等线"/>
                <a:ea typeface="等线"/>
                <a:cs typeface="Calibri"/>
              </a:rPr>
              <a:t>第4个是传统的prompt优化,也就是将所有的例子都放入system的内容中</a:t>
            </a:r>
          </a:p>
          <a:p>
            <a:r>
              <a:rPr lang="zh-CN" altLang="en-US">
                <a:latin typeface="等线"/>
                <a:ea typeface="等线"/>
                <a:cs typeface="Calibri"/>
              </a:rPr>
              <a:t>第5个是第二个的plus版本,第二组实验只放了3个,第五组会放13个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D71BD2-0A6C-6D49-9A8A-7DEE5CD58363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11000402020202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581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543F3-A4AE-E4F7-7D8E-3A93134EF6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C854F8-FCFC-7D26-202D-B9CA6D263B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AA9BD5-0EA5-1DE7-17BF-3CF72F57F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B93D75-36BC-4ECE-AAEE-671A72A20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1E624B-C542-D75D-5AAC-0A0F5353F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7968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E86292-92F3-2E67-C9CD-D9F8C6250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F6F95C-99DE-156A-A84B-A12BB1D2AA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3110EB-A04A-18BC-2627-B1B37161B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3B6C08-348D-1ECD-1493-E22AEE1E6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6E01F9-C904-BA18-BC13-92DF103E4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085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0D091EA-5443-1292-8C13-60F78F3B18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9A5C68-0881-F755-7ED2-9E9FCB9823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19EA74-7D19-E46C-A22D-CEA6B9F90C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8CEAF8-A374-E2F1-09FB-358B134A3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B84610-FBC0-439F-DAD8-B8D90E18A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10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1296956"/>
            <a:ext cx="6705600" cy="3331028"/>
          </a:xfrm>
          <a:solidFill>
            <a:schemeClr val="accent1">
              <a:lumMod val="75000"/>
            </a:schemeClr>
          </a:solidFill>
          <a:ln>
            <a:noFill/>
          </a:ln>
        </p:spPr>
        <p:txBody>
          <a:bodyPr lIns="91440" anchor="b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2" y="5110609"/>
            <a:ext cx="6705599" cy="1137793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spcBef>
                <a:spcPts val="600"/>
              </a:spcBef>
              <a:buNone/>
              <a:defRPr sz="2800" b="1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BFF14-7006-41B3-A79F-F2EB1FAE7D71}" type="datetime1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936" y="182460"/>
            <a:ext cx="564390" cy="57782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170507" y="1296956"/>
            <a:ext cx="1609531" cy="1609531"/>
          </a:xfrm>
          <a:prstGeom prst="rect">
            <a:avLst/>
          </a:prstGeom>
          <a:solidFill>
            <a:srgbClr val="F14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+mn-ea"/>
                <a:ea typeface="+mn-ea"/>
              </a:rPr>
              <a:t>Microsoft AI</a:t>
            </a:r>
          </a:p>
        </p:txBody>
      </p:sp>
      <p:pic>
        <p:nvPicPr>
          <p:cNvPr id="1026" name="Picture 7" descr="image00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44"/>
          <a:stretch/>
        </p:blipFill>
        <p:spPr bwMode="auto">
          <a:xfrm>
            <a:off x="9861272" y="1301056"/>
            <a:ext cx="1604866" cy="1614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72423" y="2997907"/>
            <a:ext cx="1590638" cy="160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0506" y="2997908"/>
            <a:ext cx="1609531" cy="1609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779529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0" imgH="523" progId="TCLayout.ActiveDocument.1">
                  <p:embed/>
                </p:oleObj>
              </mc:Choice>
              <mc:Fallback>
                <p:oleObj name="think-cell Slide" r:id="rId3" imgW="500" imgH="523" progId="TCLayout.ActiveDocument.1">
                  <p:embed/>
                  <p:pic>
                    <p:nvPicPr>
                      <p:cNvPr id="9" name="对象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81165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434" y="0"/>
            <a:ext cx="10749367" cy="70891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986319"/>
            <a:ext cx="10515599" cy="5190644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200"/>
              </a:spcAft>
              <a:buNone/>
              <a:defRPr sz="2000">
                <a:solidFill>
                  <a:srgbClr val="0070C0"/>
                </a:solidFill>
                <a:latin typeface="+mj-lt"/>
              </a:defRPr>
            </a:lvl1pPr>
            <a:lvl2pPr>
              <a:lnSpc>
                <a:spcPct val="150000"/>
              </a:lnSpc>
              <a:spcAft>
                <a:spcPts val="1200"/>
              </a:spcAft>
              <a:defRPr sz="1800">
                <a:solidFill>
                  <a:srgbClr val="0070C0"/>
                </a:solidFill>
                <a:latin typeface="+mj-lt"/>
              </a:defRPr>
            </a:lvl2pPr>
            <a:lvl3pPr>
              <a:lnSpc>
                <a:spcPct val="150000"/>
              </a:lnSpc>
              <a:spcAft>
                <a:spcPts val="1200"/>
              </a:spcAft>
              <a:defRPr sz="1600">
                <a:solidFill>
                  <a:srgbClr val="0070C0"/>
                </a:solidFill>
                <a:latin typeface="+mj-lt"/>
              </a:defRPr>
            </a:lvl3pPr>
            <a:lvl4pPr>
              <a:lnSpc>
                <a:spcPct val="150000"/>
              </a:lnSpc>
              <a:spcAft>
                <a:spcPts val="1200"/>
              </a:spcAft>
              <a:defRPr sz="1400">
                <a:solidFill>
                  <a:srgbClr val="0070C0"/>
                </a:solidFill>
                <a:latin typeface="+mj-lt"/>
              </a:defRPr>
            </a:lvl4pPr>
            <a:lvl5pPr>
              <a:lnSpc>
                <a:spcPct val="150000"/>
              </a:lnSpc>
              <a:spcAft>
                <a:spcPts val="1200"/>
              </a:spcAft>
              <a:defRPr sz="1400">
                <a:solidFill>
                  <a:srgbClr val="0070C0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905CF-70F6-407A-8E65-BABB5DADAC53}" type="datetime1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28486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5656882" y="1709738"/>
            <a:ext cx="6535119" cy="3575184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2402238"/>
            <a:ext cx="4508715" cy="2187227"/>
          </a:xfrm>
        </p:spPr>
        <p:txBody>
          <a:bodyPr anchor="ctr">
            <a:noAutofit/>
          </a:bodyPr>
          <a:lstStyle>
            <a:lvl1pPr algn="l">
              <a:defRPr sz="4800">
                <a:solidFill>
                  <a:srgbClr val="0070C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3308" y="2402237"/>
            <a:ext cx="5269424" cy="2187226"/>
          </a:xfrm>
        </p:spPr>
        <p:txBody>
          <a:bodyPr anchor="ctr">
            <a:normAutofit/>
          </a:bodyPr>
          <a:lstStyle>
            <a:lvl1pPr marL="0" indent="0">
              <a:lnSpc>
                <a:spcPct val="15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382D15-C001-4D3F-8815-69D5466DF121}" type="datetime1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656882" y="1709738"/>
            <a:ext cx="6535119" cy="357518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643110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888306"/>
            <a:ext cx="5181600" cy="528865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600" smtClean="0">
                <a:solidFill>
                  <a:srgbClr val="0070C0"/>
                </a:solidFill>
              </a:defRPr>
            </a:lvl1pPr>
            <a:lvl2pPr>
              <a:defRPr lang="en-US" sz="1400" smtClean="0">
                <a:solidFill>
                  <a:srgbClr val="0070C0"/>
                </a:solidFill>
              </a:defRPr>
            </a:lvl2pPr>
            <a:lvl3pPr>
              <a:defRPr lang="en-US" sz="1200" smtClean="0">
                <a:solidFill>
                  <a:srgbClr val="0070C0"/>
                </a:solidFill>
              </a:defRPr>
            </a:lvl3pPr>
            <a:lvl4pPr>
              <a:defRPr lang="en-US" sz="1100" smtClean="0">
                <a:solidFill>
                  <a:srgbClr val="0070C0"/>
                </a:solidFill>
              </a:defRPr>
            </a:lvl4pPr>
            <a:lvl5pPr>
              <a:defRPr lang="en-US" sz="1100">
                <a:solidFill>
                  <a:srgbClr val="0070C0"/>
                </a:solidFill>
              </a:defRPr>
            </a:lvl5pPr>
          </a:lstStyle>
          <a:p>
            <a:pPr marL="0" lvl="0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Click to edit Master text styles</a:t>
            </a:r>
          </a:p>
          <a:p>
            <a:pPr marL="0" lvl="1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Second level</a:t>
            </a:r>
          </a:p>
          <a:p>
            <a:pPr marL="0" lvl="2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Third level</a:t>
            </a:r>
          </a:p>
          <a:p>
            <a:pPr marL="0" lvl="3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ourth level</a:t>
            </a:r>
          </a:p>
          <a:p>
            <a:pPr marL="0" lvl="4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888306"/>
            <a:ext cx="5181600" cy="528865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600" smtClean="0">
                <a:solidFill>
                  <a:srgbClr val="0070C0"/>
                </a:solidFill>
              </a:defRPr>
            </a:lvl1pPr>
            <a:lvl2pPr>
              <a:defRPr lang="en-US" sz="1400" smtClean="0">
                <a:solidFill>
                  <a:srgbClr val="0070C0"/>
                </a:solidFill>
              </a:defRPr>
            </a:lvl2pPr>
            <a:lvl3pPr>
              <a:defRPr lang="en-US" sz="1200" smtClean="0">
                <a:solidFill>
                  <a:srgbClr val="0070C0"/>
                </a:solidFill>
              </a:defRPr>
            </a:lvl3pPr>
            <a:lvl4pPr>
              <a:defRPr lang="en-US" sz="1100" smtClean="0">
                <a:solidFill>
                  <a:srgbClr val="0070C0"/>
                </a:solidFill>
              </a:defRPr>
            </a:lvl4pPr>
            <a:lvl5pPr>
              <a:defRPr lang="en-US" sz="1100">
                <a:solidFill>
                  <a:srgbClr val="0070C0"/>
                </a:solidFill>
              </a:defRPr>
            </a:lvl5pPr>
          </a:lstStyle>
          <a:p>
            <a:pPr marL="0" lvl="0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Click to edit Master text styles</a:t>
            </a:r>
          </a:p>
          <a:p>
            <a:pPr marL="0" lvl="1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Second level</a:t>
            </a:r>
          </a:p>
          <a:p>
            <a:pPr marL="0" lvl="2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Third level</a:t>
            </a:r>
          </a:p>
          <a:p>
            <a:pPr marL="0" lvl="3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ourth level</a:t>
            </a:r>
          </a:p>
          <a:p>
            <a:pPr marL="0" lvl="4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676B4-497A-40B1-8308-67B030764C44}" type="datetime1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12192000" cy="81165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4434" y="0"/>
            <a:ext cx="10749367" cy="70891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187139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995808"/>
            <a:ext cx="5156200" cy="641350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70C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1851" y="1736333"/>
            <a:ext cx="5156200" cy="4435869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600" smtClean="0">
                <a:solidFill>
                  <a:srgbClr val="0070C0"/>
                </a:solidFill>
              </a:defRPr>
            </a:lvl1pPr>
            <a:lvl2pPr>
              <a:defRPr lang="en-US" sz="1400" smtClean="0">
                <a:solidFill>
                  <a:srgbClr val="0070C0"/>
                </a:solidFill>
              </a:defRPr>
            </a:lvl2pPr>
            <a:lvl3pPr>
              <a:defRPr lang="en-US" sz="1200" smtClean="0">
                <a:solidFill>
                  <a:srgbClr val="0070C0"/>
                </a:solidFill>
              </a:defRPr>
            </a:lvl3pPr>
            <a:lvl4pPr>
              <a:defRPr lang="en-US" sz="1100" smtClean="0">
                <a:solidFill>
                  <a:srgbClr val="0070C0"/>
                </a:solidFill>
              </a:defRPr>
            </a:lvl4pPr>
            <a:lvl5pPr>
              <a:defRPr lang="en-US" sz="1100">
                <a:solidFill>
                  <a:srgbClr val="0070C0"/>
                </a:solidFill>
              </a:defRPr>
            </a:lvl5pPr>
          </a:lstStyle>
          <a:p>
            <a:pPr marL="0" lvl="0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Click to edit Master text styles</a:t>
            </a:r>
          </a:p>
          <a:p>
            <a:pPr marL="0" lvl="1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Second level</a:t>
            </a:r>
          </a:p>
          <a:p>
            <a:pPr marL="0" lvl="2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Third level</a:t>
            </a:r>
          </a:p>
          <a:p>
            <a:pPr marL="0" lvl="3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ourth level</a:t>
            </a:r>
          </a:p>
          <a:p>
            <a:pPr marL="0" lvl="4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9664" y="995808"/>
            <a:ext cx="5157787" cy="641350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70C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9664" y="1736333"/>
            <a:ext cx="5157787" cy="4435869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600" smtClean="0">
                <a:solidFill>
                  <a:srgbClr val="0070C0"/>
                </a:solidFill>
              </a:defRPr>
            </a:lvl1pPr>
            <a:lvl2pPr>
              <a:defRPr lang="en-US" sz="1400" smtClean="0">
                <a:solidFill>
                  <a:srgbClr val="0070C0"/>
                </a:solidFill>
              </a:defRPr>
            </a:lvl2pPr>
            <a:lvl3pPr>
              <a:defRPr lang="en-US" sz="1200" smtClean="0">
                <a:solidFill>
                  <a:srgbClr val="0070C0"/>
                </a:solidFill>
              </a:defRPr>
            </a:lvl3pPr>
            <a:lvl4pPr>
              <a:defRPr lang="en-US" sz="1100" smtClean="0">
                <a:solidFill>
                  <a:srgbClr val="0070C0"/>
                </a:solidFill>
              </a:defRPr>
            </a:lvl4pPr>
            <a:lvl5pPr>
              <a:defRPr lang="en-US" sz="1100">
                <a:solidFill>
                  <a:srgbClr val="0070C0"/>
                </a:solidFill>
              </a:defRPr>
            </a:lvl5pPr>
          </a:lstStyle>
          <a:p>
            <a:pPr marL="0" lvl="0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Click to edit Master text styles</a:t>
            </a:r>
          </a:p>
          <a:p>
            <a:pPr marL="0" lvl="1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Second level</a:t>
            </a:r>
          </a:p>
          <a:p>
            <a:pPr marL="0" lvl="2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Third level</a:t>
            </a:r>
          </a:p>
          <a:p>
            <a:pPr marL="0" lvl="3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ourth level</a:t>
            </a:r>
          </a:p>
          <a:p>
            <a:pPr marL="0" lvl="4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42B58D-1074-4E59-9BA9-82648B9519C8}" type="datetime1">
              <a:rPr lang="en-US" smtClean="0"/>
              <a:t>10/2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12192000" cy="81165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04434" y="0"/>
            <a:ext cx="10749367" cy="70891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430514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40A45-BC43-4F64-9960-4B331B91175F}" type="datetime1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81165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4434" y="0"/>
            <a:ext cx="10749367" cy="70891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582953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06E5-F526-4043-B6F9-8106878CF086}" type="datetime1">
              <a:rPr lang="en-US" smtClean="0"/>
              <a:t>10/2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386876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600" smtClean="0">
                <a:solidFill>
                  <a:srgbClr val="0070C0"/>
                </a:solidFill>
              </a:defRPr>
            </a:lvl1pPr>
            <a:lvl2pPr>
              <a:defRPr lang="en-US" sz="1400" smtClean="0">
                <a:solidFill>
                  <a:srgbClr val="0070C0"/>
                </a:solidFill>
              </a:defRPr>
            </a:lvl2pPr>
            <a:lvl3pPr>
              <a:defRPr lang="en-US" sz="1200" smtClean="0">
                <a:solidFill>
                  <a:srgbClr val="0070C0"/>
                </a:solidFill>
              </a:defRPr>
            </a:lvl3pPr>
            <a:lvl4pPr>
              <a:defRPr lang="en-US" sz="1100" smtClean="0">
                <a:solidFill>
                  <a:srgbClr val="0070C0"/>
                </a:solidFill>
              </a:defRPr>
            </a:lvl4pPr>
            <a:lvl5pPr>
              <a:defRPr lang="en-US" sz="1100">
                <a:solidFill>
                  <a:srgbClr val="0070C0"/>
                </a:solidFill>
              </a:defRPr>
            </a:lvl5pPr>
          </a:lstStyle>
          <a:p>
            <a:pPr marL="0" lvl="0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Click to edit Master text styles</a:t>
            </a:r>
          </a:p>
          <a:p>
            <a:pPr marL="0" lvl="1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Second level</a:t>
            </a:r>
          </a:p>
          <a:p>
            <a:pPr marL="0" lvl="2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Third level</a:t>
            </a:r>
          </a:p>
          <a:p>
            <a:pPr marL="0" lvl="3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ourth level</a:t>
            </a:r>
          </a:p>
          <a:p>
            <a:pPr marL="0" lvl="4" indent="0">
              <a:lnSpc>
                <a:spcPct val="150000"/>
              </a:lnSpc>
              <a:spcAft>
                <a:spcPts val="1200"/>
              </a:spcAft>
              <a:buNone/>
            </a:pPr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101850"/>
            <a:ext cx="3932237" cy="3759200"/>
          </a:xfrm>
        </p:spPr>
        <p:txBody>
          <a:bodyPr/>
          <a:lstStyle>
            <a:lvl1pPr marL="0" indent="0">
              <a:buNone/>
              <a:defRPr sz="1600">
                <a:solidFill>
                  <a:srgbClr val="0070C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F0CBCF-2A01-4A4A-A820-B3422AE21942}" type="datetime1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257057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E246A-59C0-AC13-5E8E-4B29590C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2B16F4-F39F-86BF-F08C-599811F081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1026D1-AFC6-A96B-30A3-513E76CBB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58A236-E461-4D30-6053-B4241C9A4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ECE655-7895-CB26-4A17-AC4B85F5B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286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rgbClr val="0070C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101850"/>
            <a:ext cx="3932237" cy="3759200"/>
          </a:xfrm>
        </p:spPr>
        <p:txBody>
          <a:bodyPr/>
          <a:lstStyle>
            <a:lvl1pPr marL="0" indent="0">
              <a:buNone/>
              <a:defRPr sz="1600">
                <a:solidFill>
                  <a:srgbClr val="0070C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5464F-6278-4697-8223-F67A14F82BFD}" type="datetime1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108400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893852"/>
            <a:ext cx="10515600" cy="5283111"/>
          </a:xfrm>
        </p:spPr>
        <p:txBody>
          <a:bodyPr vert="eaVert"/>
          <a:lstStyle>
            <a:lvl1pPr>
              <a:defRPr>
                <a:solidFill>
                  <a:srgbClr val="0070C0"/>
                </a:solidFill>
              </a:defRPr>
            </a:lvl1pPr>
            <a:lvl2pPr>
              <a:defRPr>
                <a:solidFill>
                  <a:srgbClr val="0070C0"/>
                </a:solidFill>
              </a:defRPr>
            </a:lvl2pPr>
            <a:lvl3pPr>
              <a:defRPr>
                <a:solidFill>
                  <a:srgbClr val="0070C0"/>
                </a:solidFill>
              </a:defRPr>
            </a:lvl3pPr>
            <a:lvl4pPr>
              <a:defRPr>
                <a:solidFill>
                  <a:srgbClr val="0070C0"/>
                </a:solidFill>
              </a:defRPr>
            </a:lvl4pPr>
            <a:lvl5pPr>
              <a:defRPr>
                <a:solidFill>
                  <a:srgbClr val="0070C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41B1-0B4A-4FB4-A10E-E1486FD6522E}" type="datetime1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12192000" cy="81165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4434" y="0"/>
            <a:ext cx="10749367" cy="70891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90705" y="131089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107384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095346" y="0"/>
            <a:ext cx="2096655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215419" y="365125"/>
            <a:ext cx="1819564" cy="5811838"/>
          </a:xfrm>
        </p:spPr>
        <p:txBody>
          <a:bodyPr vert="eaVert"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>
            <a:lvl1pPr>
              <a:defRPr>
                <a:solidFill>
                  <a:srgbClr val="0070C0"/>
                </a:solidFill>
              </a:defRPr>
            </a:lvl1pPr>
            <a:lvl2pPr>
              <a:defRPr>
                <a:solidFill>
                  <a:srgbClr val="0070C0"/>
                </a:solidFill>
              </a:defRPr>
            </a:lvl2pPr>
            <a:lvl3pPr>
              <a:defRPr>
                <a:solidFill>
                  <a:srgbClr val="0070C0"/>
                </a:solidFill>
              </a:defRPr>
            </a:lvl3pPr>
            <a:lvl4pPr>
              <a:defRPr>
                <a:solidFill>
                  <a:srgbClr val="0070C0"/>
                </a:solidFill>
              </a:defRPr>
            </a:lvl4pPr>
            <a:lvl5pPr>
              <a:defRPr>
                <a:solidFill>
                  <a:srgbClr val="0070C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2C0AF-284B-4E33-A53F-800B1E82E94C}" type="datetime1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7200" y="6356352"/>
            <a:ext cx="1878458" cy="365125"/>
          </a:xfrm>
        </p:spPr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78503" y="6250000"/>
            <a:ext cx="564390" cy="57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489511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47D3E-A58C-FE8F-C967-9EAFE6F4D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D5A74F-B251-D0F5-0835-B52F76BF8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7D71B-A2B2-4ECB-ACA4-F791EE56C320}" type="datetime1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CF5EEF-39C7-A3B4-FF76-73EB6D4C6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37FF5B-4D01-6C78-0370-4B9507AFD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9074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897A7-60E1-3B24-9555-E71E4CD43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3537AD-14F7-D9BA-FFD2-E168734055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60041-EF5B-9976-E70A-8E7E9D6EE4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F067DC-E161-B16E-0EEC-E6BADFAF3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D7F72-3468-DE5E-1BB9-0E80BC2D3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932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2CC713-0095-C4B2-8A63-EA303463BC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202DE2-91D0-F6FA-B762-82D417D964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8F6AD1-6BEF-35BB-9475-D1A02AD8D0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4A9A74-94FA-895D-41D3-165BE4676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85B5F9-892B-FDB5-CBB0-2E5926E80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89CDB7-5A01-E91D-6E8E-6D13BA612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75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07FFA6-83C0-08D3-98DB-14962D4FB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CBEA11-0FC3-5129-6082-BD14A8084D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72975E-8238-F66F-6FBB-7495149E70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795E28-6498-3082-1C8A-F66F24A5D3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1A9BB3-9FE8-CDB7-667B-64796914CA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E4732A-64F9-D358-2EEE-C7BDB7092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B51F6F-626F-635F-79B9-9D2E90257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B6F7114-C38B-BA23-080B-453E76A57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941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32264-7FB5-597D-02A2-C6BC60919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4E3A83-DDAF-A11F-F2E9-8D1783755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CDBB47-E014-E32F-51B0-9DE61AA95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711C97-9310-DD6B-CA9E-079FC803E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466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63BE66-58F1-46E8-F0EF-C8B63BAED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E80016-C1A5-A5B8-7959-86FE12374A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EDA87E-0CAC-1017-756E-DD275729D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1795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6AD4ED-7930-9944-A904-1169401C8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BC4EB2-C845-994C-B496-29079CC135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87B5B8-731E-340F-DB4C-D972FF78FA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E0A04D-F748-E3EB-B415-61A8283504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4F31CE-0567-81B7-2CAF-800FAF68C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D5DF13-64D8-835A-40C3-F4BD3A883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228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D2E55-BF3D-684B-19CC-14EBADF8F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A7436B-3B29-9976-C0F2-33DB4DA300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B5B897-CEE4-98CC-C20F-B80B0B08C0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57CE25-FC53-3CC1-A214-2402E2FA5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B424A4-CCAC-9718-EFFE-61AD997BA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6AFD2D-DA0E-22F5-8C9F-0680D36A7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820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49AEC9-A591-3093-9B4F-DDA336FBA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8E57FC-4C7D-1DDA-2CE6-2F4F5291AE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F2D701-1B72-6883-7318-9F7EA0D5CE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9D2083F-5594-45CA-BFD1-995235B869C9}" type="datetimeFigureOut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340C8F-2760-9A70-2B20-BF7BA2702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CA9F07-D369-45DA-2ED9-17B41867C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7D6AECF-90D4-43FE-AC6C-A742DE2B3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254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172029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00" imgH="523" progId="TCLayout.ActiveDocument.1">
                  <p:embed/>
                </p:oleObj>
              </mc:Choice>
              <mc:Fallback>
                <p:oleObj name="think-cell Slide" r:id="rId16" imgW="500" imgH="523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35A7981-07D4-42CE-BB38-7761D9084AB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zh-CN" sz="4400" b="0" i="0" baseline="0">
              <a:solidFill>
                <a:srgbClr val="4472C4"/>
              </a:solidFill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9554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53447"/>
            <a:ext cx="10515600" cy="4923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77D71B-A2B2-4ECB-ACA4-F791EE56C320}" type="datetime1">
              <a:rPr lang="en-US" smtClean="0"/>
              <a:t>10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8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483"/>
            <a:r>
              <a:rPr lang="en-US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77200" y="63563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483"/>
            <a:fld id="{876CC856-7828-42C3-B298-ED3535050C7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3483"/>
              <a:t>‹#›</a:t>
            </a:fld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950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/>
  </p:transition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DB4A_FF53947E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B4C_BEA9A44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B54_14F495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B37_502A442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7FFFDB55_3DE116AA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B57_EDC333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B56_66BAECF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7FFFDB38_7C2A24B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microsoft.com/office/2018/10/relationships/comments" Target="../comments/modernComment_7FFFDB3E_C22E3EDF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B52_7A31F06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B3D_6E9DAD8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7B3708-B07B-66A3-0FAE-3C166B4622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3C6BBB-E53E-61CE-541F-1FFE55ABE44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0527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5B63F-6510-826B-4D2D-842317D08C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1DA5A-BF2F-1431-77E5-67466067A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boarded MCP too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15833B-2CD6-D1F9-F15E-B0D91D43291D}"/>
              </a:ext>
            </a:extLst>
          </p:cNvPr>
          <p:cNvSpPr txBox="1"/>
          <p:nvPr/>
        </p:nvSpPr>
        <p:spPr>
          <a:xfrm>
            <a:off x="2305569" y="1301819"/>
            <a:ext cx="3673548" cy="37856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Tool Marketplace MC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YouTube Content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YoutubeToolBox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YoutubeDownloa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Terminal Automation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DesktopCommande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Smart Search &amp; Info Retrieval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Ex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Tavil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DuckDuckG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OpenWebSearc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GoogleMap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Finance &amp; Analytics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YahooFinan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Memory &amp; Knowledge Graph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Mem0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AI Native &amp; Inference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Think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82221F-3DD3-5CB3-B131-D68964546E17}"/>
              </a:ext>
            </a:extLst>
          </p:cNvPr>
          <p:cNvSpPr txBox="1"/>
          <p:nvPr/>
        </p:nvSpPr>
        <p:spPr>
          <a:xfrm>
            <a:off x="6748582" y="1301819"/>
            <a:ext cx="3958494" cy="57246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Aword MC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Content processing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Audi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Imag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Vide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Browser Automation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Browse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Development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Local-cod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Office suites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CSV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Xlsx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Docx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PDF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PPTX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System Integration &amp; API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Download – download from UR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Smart Search &amp; Info Retrieval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Pubche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Searc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Wayback – Archiv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Wikipedi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AI Native &amp; Inference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Reason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YouTube Content: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Youtub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83667582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2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0F5F40-A612-4999-4E3C-3A2A7E6F09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07D3C-E416-839D-3350-8C352AE75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llected log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9B8504-BD8A-D3F8-475F-C6228D18D2FC}"/>
              </a:ext>
            </a:extLst>
          </p:cNvPr>
          <p:cNvSpPr txBox="1"/>
          <p:nvPr/>
        </p:nvSpPr>
        <p:spPr>
          <a:xfrm>
            <a:off x="603988" y="1047413"/>
            <a:ext cx="10567665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Breakdown tasks and extracted keywords from main task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Selected tools and reasoning from tool sele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Tool invocation input params and output resul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Gaia task overall execution resul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Gaia task execution trajectori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Agent side final task breakdow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inal tool calls in sequence and outcomes</a:t>
            </a:r>
          </a:p>
        </p:txBody>
      </p:sp>
      <p:pic>
        <p:nvPicPr>
          <p:cNvPr id="3" name="Picture 2" descr="A diagram of a tool&#10;&#10;AI-generated content may be incorrect.">
            <a:extLst>
              <a:ext uri="{FF2B5EF4-FFF2-40B4-BE49-F238E27FC236}">
                <a16:creationId xmlns:a16="http://schemas.microsoft.com/office/drawing/2014/main" id="{0E3C66FF-CE6A-C3F8-0CB4-2FDC2890F9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0005" y="2608263"/>
            <a:ext cx="8433858" cy="407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788672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12785A-AF27-7C31-62D7-5E1DE828A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64A44-7238-F1F3-EBB3-5300458C6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we plan to use logs 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41126E-CC66-02E6-D9B7-64E0873F885D}"/>
              </a:ext>
            </a:extLst>
          </p:cNvPr>
          <p:cNvSpPr txBox="1"/>
          <p:nvPr/>
        </p:nvSpPr>
        <p:spPr>
          <a:xfrm>
            <a:off x="605892" y="984911"/>
            <a:ext cx="11243733" cy="649408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We could leverage LLM to extract tool usage and transform logs to metadata as tool featur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Tool calls to enhance selection over other similar tool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Tool features: based on historical data, add related keywords to better describe the tools in addition to the existing description provid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xample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maps_geocod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: Turn the campus building name into coordina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search_nearb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: Find Walmart candidates near those coordinate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xtracted feature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maps_geocod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: Single place/address → precise coordinates (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lat,l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) + formatted address/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place_i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.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Triggers: “where is”, “coordinates”, building/campus/address pattern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search_nearb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: Find multiple places near a coordinate (radius + keyword/brand), returns list of POIs. Triggers: “nearest/closest/nearby/within”, brand + “near me”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Befo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maps_geocod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: Convert addresses or place names to geographic coordinates (latitude and longitude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search_nearb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: Search for nearby places based on location, with optional filtering by keywords, distance, rating, and operating hou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Aft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Forward geocode a single address or place name (building, campus, office) into precise coordinates, formatted address, and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place_i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. Use for “where is” / “coordinates of” queries or explicit address strings. Avoid for “nearest/closest” comparisons (use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search_nearb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Discover multiple nearby places around a coordinate or address (auto-geocode if needed), producing a candidate list for ranking. Triggered by proximity terms (“nearest”, “closest”, “nearby”, “around”, “within X km”, “near me”) and brand/category word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1973332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6FE11E-A77C-AD7A-D7A4-E5177C18F5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CDC079-42EF-9373-596B-0BCD5197B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Learnings</a:t>
            </a:r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B8CB4A4-0BB0-149D-EB04-13E9ACB34F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465D1C-D566-F573-16B4-E6DD6E17724B}"/>
              </a:ext>
            </a:extLst>
          </p:cNvPr>
          <p:cNvSpPr txBox="1"/>
          <p:nvPr/>
        </p:nvSpPr>
        <p:spPr>
          <a:xfrm>
            <a:off x="551542" y="1226457"/>
            <a:ext cx="10965541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xternal MCP services are hosted in Marketplace for clean client setup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Different MCP will have their own API key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Unified API quote handling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ntroduced text embedding search to narrow down LLM tool selection candidat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Context length limitation of putting all tools into promp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xtra layer to allow building tool profile when offline process logs to enhance tool matching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We need to create a feedback loop to enrich current tools metadata to give accurate tool suggestions</a:t>
            </a:r>
          </a:p>
        </p:txBody>
      </p:sp>
    </p:spTree>
    <p:extLst>
      <p:ext uri="{BB962C8B-B14F-4D97-AF65-F5344CB8AC3E}">
        <p14:creationId xmlns:p14="http://schemas.microsoft.com/office/powerpoint/2010/main" val="1344947236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FC0732-D67C-CF52-BF1F-DC894CF45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BA3B99A-6309-03AF-14A6-0992FA34B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Agent Marketplace Next Steps</a:t>
            </a:r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CB423F7-7502-756F-A34A-AFA722D47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6BE18B-0C08-4015-A82D-5B3B0FB9E9CE}"/>
              </a:ext>
            </a:extLst>
          </p:cNvPr>
          <p:cNvSpPr txBox="1"/>
          <p:nvPr/>
        </p:nvSpPr>
        <p:spPr>
          <a:xfrm>
            <a:off x="762000" y="1487714"/>
            <a:ext cx="10290628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Tool selection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Leverage logs to build feedback loop for setting up tool profile and enhance tool selection perform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Subtask level tool selection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terate keyword extra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Provide multiple plan to solve question 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MCP servers/tools managemen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Separate external MCP server maintaining serv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Onboard more MCP servers (how to selects?)</a:t>
            </a:r>
          </a:p>
        </p:txBody>
      </p:sp>
    </p:spTree>
    <p:extLst>
      <p:ext uri="{BB962C8B-B14F-4D97-AF65-F5344CB8AC3E}">
        <p14:creationId xmlns:p14="http://schemas.microsoft.com/office/powerpoint/2010/main" val="366829453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D1ED3-6B9B-AD46-2A5A-F40763444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096" y="0"/>
            <a:ext cx="10749367" cy="708917"/>
          </a:xfrm>
        </p:spPr>
        <p:txBody>
          <a:bodyPr/>
          <a:lstStyle/>
          <a:p>
            <a:r>
              <a:rPr lang="en-US"/>
              <a:t>Tool Selection Benchmar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D75127-0486-1D58-DAE2-986C1E967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149FA41-C654-5E6C-9713-738E3FB207F3}"/>
              </a:ext>
            </a:extLst>
          </p:cNvPr>
          <p:cNvGraphicFramePr>
            <a:graphicFrameLocks noGrp="1"/>
          </p:cNvGraphicFramePr>
          <p:nvPr/>
        </p:nvGraphicFramePr>
        <p:xfrm>
          <a:off x="462205" y="1237284"/>
          <a:ext cx="10169634" cy="5054188"/>
        </p:xfrm>
        <a:graphic>
          <a:graphicData uri="http://schemas.openxmlformats.org/drawingml/2006/table">
            <a:tbl>
              <a:tblPr/>
              <a:tblGrid>
                <a:gridCol w="1694939">
                  <a:extLst>
                    <a:ext uri="{9D8B030D-6E8A-4147-A177-3AD203B41FA5}">
                      <a16:colId xmlns:a16="http://schemas.microsoft.com/office/drawing/2014/main" val="4266678935"/>
                    </a:ext>
                  </a:extLst>
                </a:gridCol>
                <a:gridCol w="1694939">
                  <a:extLst>
                    <a:ext uri="{9D8B030D-6E8A-4147-A177-3AD203B41FA5}">
                      <a16:colId xmlns:a16="http://schemas.microsoft.com/office/drawing/2014/main" val="3320094484"/>
                    </a:ext>
                  </a:extLst>
                </a:gridCol>
                <a:gridCol w="1694939">
                  <a:extLst>
                    <a:ext uri="{9D8B030D-6E8A-4147-A177-3AD203B41FA5}">
                      <a16:colId xmlns:a16="http://schemas.microsoft.com/office/drawing/2014/main" val="525502038"/>
                    </a:ext>
                  </a:extLst>
                </a:gridCol>
                <a:gridCol w="1694939">
                  <a:extLst>
                    <a:ext uri="{9D8B030D-6E8A-4147-A177-3AD203B41FA5}">
                      <a16:colId xmlns:a16="http://schemas.microsoft.com/office/drawing/2014/main" val="3319317525"/>
                    </a:ext>
                  </a:extLst>
                </a:gridCol>
                <a:gridCol w="1694939">
                  <a:extLst>
                    <a:ext uri="{9D8B030D-6E8A-4147-A177-3AD203B41FA5}">
                      <a16:colId xmlns:a16="http://schemas.microsoft.com/office/drawing/2014/main" val="4150883083"/>
                    </a:ext>
                  </a:extLst>
                </a:gridCol>
                <a:gridCol w="1694939">
                  <a:extLst>
                    <a:ext uri="{9D8B030D-6E8A-4147-A177-3AD203B41FA5}">
                      <a16:colId xmlns:a16="http://schemas.microsoft.com/office/drawing/2014/main" val="3364119502"/>
                    </a:ext>
                  </a:extLst>
                </a:gridCol>
              </a:tblGrid>
              <a:tr h="344599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Layer</a:t>
                      </a:r>
                      <a:endParaRPr lang="en-US" sz="14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Definition</a:t>
                      </a:r>
                      <a:endParaRPr lang="en-US" sz="14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Key Characteristics</a:t>
                      </a:r>
                      <a:endParaRPr lang="en-US" sz="14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Representative Benchmarks</a:t>
                      </a:r>
                      <a:endParaRPr lang="en-US" sz="14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Pros</a:t>
                      </a:r>
                      <a:endParaRPr lang="en-US" sz="14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400" b="1"/>
                        <a:t>Cons</a:t>
                      </a:r>
                      <a:endParaRPr lang="en-US" sz="14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257005"/>
                  </a:ext>
                </a:extLst>
              </a:tr>
              <a:tr h="137839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Layer 1: Awareness &amp; Invocation</a:t>
                      </a:r>
                      <a:endParaRPr lang="en-US" sz="12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Tests whether the agent can identify the </a:t>
                      </a:r>
                      <a:r>
                        <a:rPr lang="en-US" sz="1200" i="1"/>
                        <a:t>right tool</a:t>
                      </a:r>
                      <a:r>
                        <a:rPr lang="en-US" sz="1200"/>
                        <a:t> and invoke it correctly given a single-step task.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Single-turn- Tool relevance recognition- Invocation format accuracy- No sequencing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MetaTool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ToolBench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BFCL v4 (partial)</a:t>
                      </a:r>
                      <a:endParaRPr lang="en-US" sz="12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✅ Easy to isolate tool usage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✅ Compatible with static tool APIs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✅ Fast evaluation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❌ Doesn’t test tool chaining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❌ Limited agent autonomy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❌ Prone to overfitting via memorized templates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3982267"/>
                  </a:ext>
                </a:extLst>
              </a:tr>
              <a:tr h="152608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Layer 2: Tool Reasoning &amp; Chaining</a:t>
                      </a:r>
                      <a:endParaRPr lang="en-US" sz="12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Tests whether the agent can select tools across multiple reasoning steps or choose between multiple tools dynamically.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ulti-turn- Tool sequence composition- Reasoning with intermediate outputs- Tool use optional but beneficial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ToolQA</a:t>
                      </a:r>
                      <a:endParaRPr lang="en-US" sz="1200"/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AgentEval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Multi-Mission Tool Bench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GAIA</a:t>
                      </a:r>
                      <a:endParaRPr lang="en-US" sz="12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✅ Tests generalization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✅ Evaluates integration + sequencing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✅ Closer to real agent workloads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❌ More ambiguous gold standards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❌ Requires accurate tool simulation or grounding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❌ Longer eval runtimes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700776"/>
                  </a:ext>
                </a:extLst>
              </a:tr>
              <a:tr h="167376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b="1"/>
                        <a:t>Layer 3: Orchestration &amp; Policy Learning</a:t>
                      </a:r>
                      <a:endParaRPr lang="en-US" sz="12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Evaluates long-horizon, real-time decision-making involving tool use, tool selection tradeoffs, and reward alignment.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Dynamic tool availability- Cost/latency/reward constraints- Online or interactive setting- Often supports RL training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ToolComp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Agent Leaderboard v2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MCP Atla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="1"/>
                        <a:t>LiveMCPBench</a:t>
                      </a:r>
                      <a:endParaRPr lang="en-US" sz="1200"/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✅ Closest to real deployment needs✅ Supports RL/self-play training✅ Encourages policy-level evaluation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/>
                        <a:t>❌ Hard to replicate consistently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❌ Expensive to run (real tools or latency models)</a:t>
                      </a:r>
                    </a:p>
                    <a:p>
                      <a:pPr>
                        <a:buNone/>
                      </a:pPr>
                      <a:r>
                        <a:rPr lang="en-US" sz="1200"/>
                        <a:t>❌ Evaluation can be noisy or goal-dependent</a:t>
                      </a:r>
                    </a:p>
                  </a:txBody>
                  <a:tcPr marL="49228" marR="49228" marT="24614" marB="2461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65929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8161578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DC878-BF2C-1B0B-4881-38C38887E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>
                <a:latin typeface="time"/>
              </a:rPr>
              <a:t>Prompt-Based and Dynamic Tool-Use Strategies (Non-Training) 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4E872A-D6BE-DE80-63EF-351E2D819D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time"/>
                <a:ea typeface="+mn-ea"/>
                <a:cs typeface="+mn-cs"/>
              </a:rPr>
              <a:t>Microsoft Confidential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FB40E802-ACB5-44C0-A2E1-E160CDD3E555}"/>
              </a:ext>
            </a:extLst>
          </p:cNvPr>
          <p:cNvGraphicFramePr>
            <a:graphicFrameLocks noGrp="1"/>
          </p:cNvGraphicFramePr>
          <p:nvPr/>
        </p:nvGraphicFramePr>
        <p:xfrm>
          <a:off x="337793" y="942680"/>
          <a:ext cx="11291839" cy="148244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20371">
                  <a:extLst>
                    <a:ext uri="{9D8B030D-6E8A-4147-A177-3AD203B41FA5}">
                      <a16:colId xmlns:a16="http://schemas.microsoft.com/office/drawing/2014/main" val="4001355025"/>
                    </a:ext>
                  </a:extLst>
                </a:gridCol>
                <a:gridCol w="1503146">
                  <a:extLst>
                    <a:ext uri="{9D8B030D-6E8A-4147-A177-3AD203B41FA5}">
                      <a16:colId xmlns:a16="http://schemas.microsoft.com/office/drawing/2014/main" val="3832856104"/>
                    </a:ext>
                  </a:extLst>
                </a:gridCol>
                <a:gridCol w="3196011">
                  <a:extLst>
                    <a:ext uri="{9D8B030D-6E8A-4147-A177-3AD203B41FA5}">
                      <a16:colId xmlns:a16="http://schemas.microsoft.com/office/drawing/2014/main" val="3508252116"/>
                    </a:ext>
                  </a:extLst>
                </a:gridCol>
                <a:gridCol w="4872311">
                  <a:extLst>
                    <a:ext uri="{9D8B030D-6E8A-4147-A177-3AD203B41FA5}">
                      <a16:colId xmlns:a16="http://schemas.microsoft.com/office/drawing/2014/main" val="92634338"/>
                    </a:ext>
                  </a:extLst>
                </a:gridCol>
              </a:tblGrid>
              <a:tr h="364841"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zh-CN" altLang="en-US" sz="1600" b="1">
                          <a:effectLst/>
                          <a:latin typeface="Times New Roman"/>
                          <a:ea typeface="Microsoft YaHei"/>
                        </a:rPr>
                        <a:t>Task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altLang="en-US" sz="1600">
                          <a:effectLst/>
                          <a:latin typeface="Times New Roman"/>
                          <a:ea typeface="Microsoft YaHei"/>
                        </a:rPr>
                        <a:t>Dataset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altLang="en-US" sz="1600">
                          <a:effectLst/>
                          <a:latin typeface="Times New Roman"/>
                          <a:ea typeface="Microsoft YaHei"/>
                        </a:rPr>
                        <a:t>Challenge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altLang="en-US" sz="1600">
                          <a:effectLst/>
                          <a:latin typeface="Times New Roman"/>
                          <a:ea typeface="Microsoft YaHei"/>
                        </a:rPr>
                        <a:t>objective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4045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Single Tool Selection</a:t>
                      </a:r>
                      <a:endParaRPr lang="zh-CN" altLang="en-US" sz="1200">
                        <a:effectLst/>
                        <a:latin typeface="Times New Roman"/>
                        <a:ea typeface="Microsoft YaHei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200" err="1">
                          <a:effectLst/>
                          <a:latin typeface="Times New Roman"/>
                          <a:ea typeface="Microsoft YaHei"/>
                        </a:rPr>
                        <a:t>Query</a:t>
                      </a:r>
                      <a:r>
                        <a:rPr lang="af-ZA" sz="1200">
                          <a:effectLst/>
                          <a:latin typeface="Times New Roman"/>
                          <a:ea typeface="Microsoft YaHei"/>
                        </a:rPr>
                        <a:t> </a:t>
                      </a:r>
                      <a:r>
                        <a:rPr lang="af-ZA" sz="1200" err="1">
                          <a:effectLst/>
                          <a:latin typeface="Times New Roman"/>
                          <a:ea typeface="Microsoft YaHei"/>
                        </a:rPr>
                        <a:t>Analysis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Given a user query, the model must decide which search index tool to call and construct the correct parameters.</a:t>
                      </a:r>
                      <a:endParaRPr lang="zh-CN" altLang="en-US" sz="1200">
                        <a:effectLst/>
                        <a:latin typeface="Times New Roman"/>
                        <a:ea typeface="Microsoft YaHei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Evaluate whether the model can </a:t>
                      </a:r>
                      <a:r>
                        <a:rPr lang="zh-CN" sz="1200" b="1" i="0" u="none" strike="noStrike" noProof="0">
                          <a:effectLst/>
                          <a:latin typeface="Times New Roman"/>
                        </a:rPr>
                        <a:t>select the right tool</a:t>
                      </a: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 and </a:t>
                      </a:r>
                      <a:r>
                        <a:rPr lang="zh-CN" sz="1200" b="1" i="0" u="none" strike="noStrike" noProof="0">
                          <a:effectLst/>
                          <a:latin typeface="Times New Roman"/>
                        </a:rPr>
                        <a:t>build correct pa</a:t>
                      </a:r>
                      <a:r>
                        <a:rPr lang="en-US" altLang="zh-CN" sz="1200" b="1" i="0" u="none" strike="noStrike" noProof="0" err="1">
                          <a:effectLst/>
                          <a:latin typeface="Times New Roman"/>
                        </a:rPr>
                        <a:t>ra</a:t>
                      </a:r>
                      <a:r>
                        <a:rPr lang="zh-CN" sz="1200" b="1" i="0" u="none" strike="noStrike" noProof="0">
                          <a:effectLst/>
                          <a:latin typeface="Times New Roman"/>
                        </a:rPr>
                        <a:t>meters</a:t>
                      </a: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.</a:t>
                      </a:r>
                      <a:endParaRPr lang="zh-CN" altLang="en-US" sz="1200">
                        <a:effectLst/>
                        <a:latin typeface="Times New Roman"/>
                        <a:ea typeface="Microsoft YaHei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84512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Multi-step Tool Calling </a:t>
                      </a:r>
                      <a:r>
                        <a:rPr lang="en-US" altLang="zh-CN" sz="1200" b="0" i="0" u="none" strike="noStrike" noProof="0">
                          <a:effectLst/>
                          <a:latin typeface="Times New Roman"/>
                        </a:rPr>
                        <a:t>/</a:t>
                      </a:r>
                      <a:r>
                        <a:rPr lang="zh-CN" altLang="en-US" sz="1200" b="0" i="0" u="none" strike="noStrike" noProof="0">
                          <a:effectLst/>
                          <a:latin typeface="Times New Roman"/>
                        </a:rPr>
                        <a:t> </a:t>
                      </a:r>
                      <a:r>
                        <a:rPr lang="en-US" altLang="zh-CN" sz="1200" b="0" i="0" u="none" strike="noStrike" noProof="0">
                          <a:effectLst/>
                          <a:latin typeface="Times New Roman"/>
                        </a:rPr>
                        <a:t>Agent</a:t>
                      </a:r>
                      <a:r>
                        <a:rPr lang="zh-CN" altLang="en-US" sz="1200" b="0" i="0" u="none" strike="noStrike" noProof="0">
                          <a:effectLst/>
                          <a:latin typeface="Times New Roman"/>
                        </a:rPr>
                        <a:t> </a:t>
                      </a:r>
                      <a:r>
                        <a:rPr lang="en-US" altLang="zh-CN" sz="1200" b="0" i="0" u="none" strike="noStrike" noProof="0" err="1">
                          <a:effectLst/>
                          <a:latin typeface="Times New Roman"/>
                        </a:rPr>
                        <a:t>Sty</a:t>
                      </a: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le</a:t>
                      </a:r>
                      <a:endParaRPr lang="zh-CN" altLang="en-US" sz="1200">
                        <a:effectLst/>
                        <a:latin typeface="Times New Roman"/>
                        <a:ea typeface="Microsoft YaHei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200" err="1">
                          <a:effectLst/>
                          <a:latin typeface="Times New Roman"/>
                          <a:ea typeface="Microsoft YaHei"/>
                        </a:rPr>
                        <a:t>Multiverse</a:t>
                      </a:r>
                      <a:r>
                        <a:rPr lang="af-ZA" sz="1200">
                          <a:effectLst/>
                          <a:latin typeface="Times New Roman"/>
                          <a:ea typeface="Microsoft YaHei"/>
                        </a:rPr>
                        <a:t> </a:t>
                      </a:r>
                      <a:r>
                        <a:rPr lang="af-ZA" sz="1200" err="1">
                          <a:effectLst/>
                          <a:latin typeface="Times New Roman"/>
                          <a:ea typeface="Microsoft YaHei"/>
                        </a:rPr>
                        <a:t>Math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Requires multi-step reasoning and accurate tool invocation.</a:t>
                      </a:r>
                      <a:endParaRPr lang="zh-CN" altLang="en-US" sz="1200">
                        <a:effectLst/>
                        <a:latin typeface="Times New Roman"/>
                        <a:ea typeface="Microsoft YaHei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buNone/>
                      </a:pPr>
                      <a:r>
                        <a:rPr lang="zh-CN" sz="1200" b="0" i="0" u="none" strike="noStrike" noProof="0">
                          <a:effectLst/>
                          <a:latin typeface="Times New Roman"/>
                        </a:rPr>
                        <a:t>Assess how well the model follows tool-calling protocols in complex scenarios and avoids “skipping tools” by relying on its internal knowledge.</a:t>
                      </a:r>
                      <a:endParaRPr lang="zh-CN" altLang="en-US" sz="1200">
                        <a:effectLst/>
                        <a:latin typeface="Times New Roman"/>
                        <a:ea typeface="Microsoft YaHei"/>
                      </a:endParaRP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804952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487749A8-45E9-1815-59D8-61EF1A26B0EB}"/>
              </a:ext>
            </a:extLst>
          </p:cNvPr>
          <p:cNvSpPr txBox="1"/>
          <p:nvPr/>
        </p:nvSpPr>
        <p:spPr>
          <a:xfrm>
            <a:off x="219959" y="2698423"/>
            <a:ext cx="6096000" cy="3970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question": [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HumanMessage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how many press releases mentioned chat-gpt in the month after October 2023?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]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tool_calls": [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name": "BlogQuery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args": 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subject": "chat-gpt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authors": Non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start_date": datetime(2023, 11, 1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end_date": datetime(2023, 11, 30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}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A8D5796-DC97-5A1C-DC8E-BA933A60BC0F}"/>
              </a:ext>
            </a:extLst>
          </p:cNvPr>
          <p:cNvSpPr txBox="1"/>
          <p:nvPr/>
        </p:nvSpPr>
        <p:spPr>
          <a:xfrm>
            <a:off x="5978165" y="3209041"/>
            <a:ext cx="6096000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 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question": 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ecoli divides every 20 minutes. How many cells will be 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   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there after 2 hours (120 minutes) if we start with 5 cells?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answer": multiply(5, power(2, divide(120, 20))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   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"expected_steps": ["divide", "power", "multiply"]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    </a:t>
            </a:r>
            <a:r>
              <a:rPr kumimoji="0" lang="en-US" altLang="zh-C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312051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DFEB01-1BAB-C455-CCFF-3AE2A8E61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62" y="149257"/>
            <a:ext cx="11857017" cy="559660"/>
          </a:xfrm>
        </p:spPr>
        <p:txBody>
          <a:bodyPr>
            <a:normAutofit fontScale="90000"/>
          </a:bodyPr>
          <a:lstStyle/>
          <a:p>
            <a:r>
              <a:rPr lang="en-US" altLang="zh-CN">
                <a:ea typeface="+mj-lt"/>
                <a:cs typeface="+mj-lt"/>
              </a:rPr>
              <a:t>Prompt-Based and Dynamic Tool-Use Strategies (Non-Training) </a:t>
            </a:r>
            <a:endParaRPr lang="zh-CN">
              <a:ea typeface="+mj-lt"/>
              <a:cs typeface="+mj-lt"/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A9F4087-B36E-F8DD-28C4-CB4FB8920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3CF24BC-8AE8-4144-E898-351D517E929B}"/>
              </a:ext>
            </a:extLst>
          </p:cNvPr>
          <p:cNvSpPr txBox="1"/>
          <p:nvPr/>
        </p:nvSpPr>
        <p:spPr>
          <a:xfrm>
            <a:off x="604887" y="1033021"/>
            <a:ext cx="11351443" cy="29084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5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zero-shot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: Only a basic system prompt and the question were provided to the model.</a:t>
            </a:r>
          </a:p>
          <a:p>
            <a:pPr marL="342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few-shot-static-</a:t>
            </a:r>
            <a:r>
              <a:rPr kumimoji="0" lang="en-US" sz="1500" b="1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msgs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, 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srgbClr val="2E75B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k=3</a:t>
            </a:r>
            <a:r>
              <a:rPr kumimoji="0" lang="en-US" altLang="zh-CN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Source Sans Pro"/>
                <a:cs typeface="Source Sans Pro"/>
              </a:rPr>
              <a:t> 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: Three fixed examples were passed in as a list of messages between the system prompt and the human question.</a:t>
            </a:r>
          </a:p>
          <a:p>
            <a:pPr marL="342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few-shot-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srgbClr val="C55A11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dynamic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-</a:t>
            </a:r>
            <a:r>
              <a:rPr kumimoji="0" lang="en-US" sz="1500" b="1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msgs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, 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srgbClr val="2E75B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k=3</a:t>
            </a:r>
            <a:r>
              <a:rPr kumimoji="0" lang="en-US" altLang="zh-CN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Source Sans Pro"/>
                <a:cs typeface="Source Sans Pro"/>
              </a:rPr>
              <a:t> 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: Three dynamically selected examples were passed in as a list of messages between the system prompt and the human question. The examples were 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C55A11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elected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based on 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D96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emantic similarity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between the current question and the example question.</a:t>
            </a:r>
          </a:p>
          <a:p>
            <a:pPr marL="342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5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few-shot-str, k=13</a:t>
            </a:r>
            <a:r>
              <a:rPr kumimoji="0" lang="en-US" altLang="zh-CN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Source Sans Pro"/>
                <a:cs typeface="Source Sans Pro"/>
              </a:rPr>
              <a:t> 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: All thirteen few-shot examples were converted into one long string which was appended to the system prompt.</a:t>
            </a:r>
          </a:p>
          <a:p>
            <a:pPr marL="342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few-shot-</a:t>
            </a:r>
            <a:r>
              <a:rPr kumimoji="0" lang="en-US" sz="1500" b="1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msgs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,</a:t>
            </a:r>
            <a:r>
              <a:rPr kumimoji="0" lang="en-US" sz="1500" b="1" i="1" u="none" strike="noStrike" kern="1200" cap="none" spc="0" normalizeH="0" baseline="0" noProof="0">
                <a:ln>
                  <a:noFill/>
                </a:ln>
                <a:solidFill>
                  <a:srgbClr val="2E75B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k=13</a:t>
            </a:r>
            <a:r>
              <a:rPr kumimoji="0" lang="en-US" altLang="zh-CN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Source Sans Pro"/>
                <a:cs typeface="Source Sans Pro"/>
              </a:rPr>
              <a:t> </a:t>
            </a: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: All thirteen few-shot examples were passed in as a list of messages between the system prompt and the human question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3D43ABD-89A2-9B13-B981-246F6AE77D30}"/>
              </a:ext>
            </a:extLst>
          </p:cNvPr>
          <p:cNvSpPr txBox="1"/>
          <p:nvPr/>
        </p:nvSpPr>
        <p:spPr>
          <a:xfrm>
            <a:off x="597031" y="3586113"/>
            <a:ext cx="4053526" cy="31393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messages = [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system", "content": "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You are a helpful AI assistant that decides which tool to use.</a:t>
            </a:r>
            <a:r>
              <a:rPr kumimoji="0" lang="en-US" altLang="zh-CN" sz="1100" b="1" i="0" u="none" strike="noStrike" kern="1200" cap="none" spc="0" normalizeH="0" baseline="0" noProof="0" err="1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examples_str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=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"""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Here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are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ome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examples: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Example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1: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User: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What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’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the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weather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in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Paris?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Assistant: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Call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 err="1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WeatherTool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(city="Paris")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Example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2: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User: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What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’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Apple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’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tock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price?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Assistant: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Call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 </a:t>
            </a:r>
            <a:r>
              <a:rPr kumimoji="0" lang="en-US" altLang="zh-CN" sz="1100" b="1" i="0" u="none" strike="noStrike" kern="1200" cap="none" spc="0" normalizeH="0" baseline="0" noProof="0" err="1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StockTool</a:t>
            </a: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(ticker="AAPL")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"""</a:t>
            </a:r>
            <a:endParaRPr kumimoji="0" lang="en-US" altLang="zh-CN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"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},</a:t>
            </a: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user", "content": "What’s the weather like in Tokyo today?"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]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BB96B51-2096-A568-B60E-901D16FA79F8}"/>
              </a:ext>
            </a:extLst>
          </p:cNvPr>
          <p:cNvSpPr txBox="1"/>
          <p:nvPr/>
        </p:nvSpPr>
        <p:spPr>
          <a:xfrm>
            <a:off x="7541443" y="2784835"/>
            <a:ext cx="3731444" cy="41549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messages = [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system", "content": "You are a helpful AI assistant that decides which tool to use."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user", "content": "What’s the weather in Paris?"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assistant", "content": 'Call WeatherTool(city="Paris")'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user", "content": "What’s Apple’s stock price?"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assistant", "content": 'Call StockTool(ticker="AAPL")'}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{"role": "user", "content": "What’s the weather like in Tokyo today?"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response = client.chat.completions.create(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model="gpt-4o-mini"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    </a:t>
            </a: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messages=messag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  <a:cs typeface="Times New Roman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862533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16E5A1A-17CF-A919-394D-1A2FA8D76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520D67D-221E-431E-9AD0-711D143ED8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pic>
        <p:nvPicPr>
          <p:cNvPr id="5" name="图片 4" descr="图表, 条形图&#10;&#10;AI 生成的内容可能不正确。">
            <a:extLst>
              <a:ext uri="{FF2B5EF4-FFF2-40B4-BE49-F238E27FC236}">
                <a16:creationId xmlns:a16="http://schemas.microsoft.com/office/drawing/2014/main" id="{4A0F90C1-BE76-DB5B-AD77-4220904E0C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59192"/>
            <a:ext cx="12192000" cy="493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54111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EA579-3CEF-BBD6-4053-3B3AD69C2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/>
              <a:t>Learning-Based (RL and Fine-Tuning) Frameworks for Tool Selection 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19E692-8D6F-7089-98CD-14C4DD44F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6C2F47C-75EF-7C8E-FCE1-08436DDDB60F}"/>
              </a:ext>
            </a:extLst>
          </p:cNvPr>
          <p:cNvSpPr txBox="1"/>
          <p:nvPr/>
        </p:nvSpPr>
        <p:spPr>
          <a:xfrm>
            <a:off x="172825" y="1064443"/>
            <a:ext cx="60960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olRL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: Reward is All Tool Learning Need</a:t>
            </a:r>
            <a:endParaRPr kumimoji="0" lang="en-US" altLang="zh-C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6" name="图片 5" descr="图示&#10;&#10;AI 生成的内容可能不正确。">
            <a:extLst>
              <a:ext uri="{FF2B5EF4-FFF2-40B4-BE49-F238E27FC236}">
                <a16:creationId xmlns:a16="http://schemas.microsoft.com/office/drawing/2014/main" id="{C18FA67D-E54F-B69E-400E-33DE97BB81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721" y="1712474"/>
            <a:ext cx="10738702" cy="4242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589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A47979-6D75-3338-75B6-14D41C710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05963-EF73-05D3-AB92-60E208BF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t Marketplace</a:t>
            </a:r>
            <a:br>
              <a:rPr lang="en-US"/>
            </a:br>
            <a:r>
              <a:rPr lang="en-US"/>
              <a:t>MV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9971AB-C6B0-9746-8227-1601FDB8ED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EF47DE-8D82-F0A0-7977-552015BB0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93986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B2ECAE-617C-A707-D8EE-C2B8DCF50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>
                <a:ea typeface="+mj-lt"/>
                <a:cs typeface="Segoe UI Light"/>
              </a:rPr>
              <a:t>Learning-Based (RL and Fine-Tuning) Frameworks for Tool Selection </a:t>
            </a:r>
            <a:endParaRPr lang="zh-CN" sz="2800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3ADABB8-2EB6-CE99-D75D-EA85FAF83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pic>
        <p:nvPicPr>
          <p:cNvPr id="5" name="图片 4" descr="图形用户界面, 文本&#10;&#10;AI 生成的内容可能不正确。">
            <a:extLst>
              <a:ext uri="{FF2B5EF4-FFF2-40B4-BE49-F238E27FC236}">
                <a16:creationId xmlns:a16="http://schemas.microsoft.com/office/drawing/2014/main" id="{E8835ECA-25EE-8E92-7A41-9EC78F81CC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674" y="950536"/>
            <a:ext cx="4925291" cy="494907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23D0710-932B-DAF2-C5A1-B6ED007F3D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946669"/>
            <a:ext cx="4870517" cy="2474416"/>
          </a:xfrm>
          <a:prstGeom prst="rect">
            <a:avLst/>
          </a:prstGeom>
        </p:spPr>
      </p:pic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B1FDA060-DC4A-C2A0-CB81-4B427C8C2C38}"/>
              </a:ext>
            </a:extLst>
          </p:cNvPr>
          <p:cNvGraphicFramePr>
            <a:graphicFrameLocks noGrp="1"/>
          </p:cNvGraphicFramePr>
          <p:nvPr/>
        </p:nvGraphicFramePr>
        <p:xfrm>
          <a:off x="5522704" y="3411351"/>
          <a:ext cx="6490445" cy="28854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29436">
                  <a:extLst>
                    <a:ext uri="{9D8B030D-6E8A-4147-A177-3AD203B41FA5}">
                      <a16:colId xmlns:a16="http://schemas.microsoft.com/office/drawing/2014/main" val="865140020"/>
                    </a:ext>
                  </a:extLst>
                </a:gridCol>
                <a:gridCol w="4361009">
                  <a:extLst>
                    <a:ext uri="{9D8B030D-6E8A-4147-A177-3AD203B41FA5}">
                      <a16:colId xmlns:a16="http://schemas.microsoft.com/office/drawing/2014/main" val="365885577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 b="1" err="1">
                          <a:effectLst/>
                          <a:latin typeface="Times New Roman"/>
                        </a:rPr>
                        <a:t>Experiment</a:t>
                      </a:r>
                      <a:r>
                        <a:rPr lang="af-ZA" sz="1600" b="1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b="1" err="1">
                          <a:effectLst/>
                          <a:latin typeface="Times New Roman"/>
                        </a:rPr>
                        <a:t>Group</a:t>
                      </a:r>
                      <a:endParaRPr lang="af-ZA" sz="1600">
                        <a:effectLst/>
                        <a:latin typeface="Times New Roman"/>
                      </a:endParaRP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 b="1" err="1">
                          <a:effectLst/>
                          <a:latin typeface="Times New Roman"/>
                        </a:rPr>
                        <a:t>Description</a:t>
                      </a:r>
                      <a:endParaRPr lang="af-ZA" sz="1600">
                        <a:effectLst/>
                        <a:latin typeface="Times New Roman"/>
                      </a:endParaRP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050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>
                          <a:effectLst/>
                          <a:latin typeface="Times New Roman"/>
                        </a:rPr>
                        <a:t>Qwen2.5-1.5B-Instruct(Raw)</a:t>
                      </a: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 err="1">
                          <a:effectLst/>
                          <a:latin typeface="Times New Roman"/>
                        </a:rPr>
                        <a:t>The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original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Qwen2.5-1.5B-Instruct model, without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any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fine-tuning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or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RL,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directly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using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he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base model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o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est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performance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93838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>
                          <a:effectLst/>
                          <a:latin typeface="Times New Roman"/>
                        </a:rPr>
                        <a:t>Qwen2.5-1.5B-Instruct(SFT+400/4000)</a:t>
                      </a: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 err="1">
                          <a:effectLst/>
                          <a:latin typeface="Times New Roman"/>
                        </a:rPr>
                        <a:t>The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model is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fine-tuned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with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400/4000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supervised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learning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(SFT) data,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which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is a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small-scale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SFT.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It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is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used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o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each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he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model some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knowledge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of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formatting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or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ool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invocation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228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>
                          <a:effectLst/>
                          <a:latin typeface="Times New Roman"/>
                        </a:rPr>
                        <a:t>Qwen2.5-1.5B-Instruct(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Ours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,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GRPOColdStart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buNone/>
                      </a:pPr>
                      <a:r>
                        <a:rPr lang="af-ZA" sz="1600" err="1">
                          <a:effectLst/>
                          <a:latin typeface="Times New Roman"/>
                        </a:rPr>
                        <a:t>Cold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start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directly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rained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with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GRPO RL, without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any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SFT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initialization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.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Compared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to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PPOColdStart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, GRPO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improves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stability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and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converges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 </a:t>
                      </a:r>
                      <a:r>
                        <a:rPr lang="af-ZA" sz="1600" err="1">
                          <a:effectLst/>
                          <a:latin typeface="Times New Roman"/>
                        </a:rPr>
                        <a:t>faster</a:t>
                      </a:r>
                      <a:r>
                        <a:rPr lang="af-ZA" sz="1600"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38100" marR="38100" marT="25400" marB="254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9313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662267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8216A-8140-31DD-983D-787BE1039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2M Protoco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C812CD-2BBF-3FC6-0DC9-9AFAB04C3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F4A1F4-BA14-D970-8B5E-9C7020D717CD}"/>
              </a:ext>
            </a:extLst>
          </p:cNvPr>
          <p:cNvSpPr txBox="1"/>
          <p:nvPr/>
        </p:nvSpPr>
        <p:spPr>
          <a:xfrm>
            <a:off x="603720" y="1119183"/>
            <a:ext cx="11095964" cy="44319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Wha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A2M (Agent-to-Marketplace Protocol) defines how AI agents connect with a Tool Marketplace to discover, authenticate, and invoke external tools (MCP servers) dynamically. It acts as a universal layer enabling agents to access the right tools in real-ti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"/>
              <a:ea typeface="Calibri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Why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Current LLM systems are limited to static tool lists and lack interoperability. Credentialed tools (like Gmail, Slack) complicate auth flows, and large-scale environments need ranking, governance, and billing. A2M solves this by enabling dynamic discovery, secure proxy execution, and centralized control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"/>
              <a:ea typeface="Calibri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How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Discovery – Agent sends a task to Marketplace, receives ranked tool matches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Calibri"/>
              <a:cs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Authentication – Marketplace handles OAuth or delegated credentials securely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Calibri"/>
              <a:cs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Execution – Agent calls tools via Marketplace proxy to MCP servers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Calibri"/>
              <a:cs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Calibri"/>
                <a:cs typeface="Segoe UI"/>
              </a:rPr>
              <a:t>Governance – Marketplace logs, audits, and optimizes future selections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"/>
              <a:ea typeface="Calibri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"/>
              <a:ea typeface="Calibr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23526388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FC59F-0C64-DA3A-DD1A-8105F90AD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2M &amp; MCP/A2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91A8F8-62E3-E726-22A2-3481C85E6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7B1C7F4-855A-C2AA-EF9B-CA6924E27F6D}"/>
              </a:ext>
            </a:extLst>
          </p:cNvPr>
          <p:cNvSpPr/>
          <p:nvPr/>
        </p:nvSpPr>
        <p:spPr>
          <a:xfrm>
            <a:off x="2250970" y="2830999"/>
            <a:ext cx="1908908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ent A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848771E-365C-DE2E-59C8-D2C4750BAD0D}"/>
              </a:ext>
            </a:extLst>
          </p:cNvPr>
          <p:cNvSpPr/>
          <p:nvPr/>
        </p:nvSpPr>
        <p:spPr>
          <a:xfrm>
            <a:off x="5129944" y="2830999"/>
            <a:ext cx="2027970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rketplace #1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5C445CE-FE7A-DC5B-87F5-F79487D2DA34}"/>
              </a:ext>
            </a:extLst>
          </p:cNvPr>
          <p:cNvSpPr/>
          <p:nvPr/>
        </p:nvSpPr>
        <p:spPr>
          <a:xfrm>
            <a:off x="8178800" y="1774093"/>
            <a:ext cx="1908908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ol #1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D9B290E-EF72-4459-38BC-1208182F055B}"/>
              </a:ext>
            </a:extLst>
          </p:cNvPr>
          <p:cNvSpPr/>
          <p:nvPr/>
        </p:nvSpPr>
        <p:spPr>
          <a:xfrm>
            <a:off x="8151794" y="2854811"/>
            <a:ext cx="1908908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ol #2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87EB782-4F89-6610-7B0B-6808A2C6FFFE}"/>
              </a:ext>
            </a:extLst>
          </p:cNvPr>
          <p:cNvSpPr/>
          <p:nvPr/>
        </p:nvSpPr>
        <p:spPr>
          <a:xfrm>
            <a:off x="8183544" y="3935529"/>
            <a:ext cx="1908908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ol #3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9395D88-AD01-434A-68EA-C3F642F882E1}"/>
              </a:ext>
            </a:extLst>
          </p:cNvPr>
          <p:cNvCxnSpPr>
            <a:stCxn id="5" idx="3"/>
            <a:endCxn id="6" idx="1"/>
          </p:cNvCxnSpPr>
          <p:nvPr/>
        </p:nvCxnSpPr>
        <p:spPr>
          <a:xfrm>
            <a:off x="4159878" y="3295038"/>
            <a:ext cx="970066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E34A8F6-CC42-A0D9-5523-8C2B0AF63002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7157914" y="2238132"/>
            <a:ext cx="1020886" cy="1056906"/>
          </a:xfrm>
          <a:prstGeom prst="straightConnector1">
            <a:avLst/>
          </a:prstGeom>
          <a:ln w="28575"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B4216F6-DA3B-DACA-5291-3B0E6B25FFE5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>
            <a:off x="7157914" y="3295038"/>
            <a:ext cx="993880" cy="23812"/>
          </a:xfrm>
          <a:prstGeom prst="straightConnector1">
            <a:avLst/>
          </a:prstGeom>
          <a:ln w="28575"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E720B5D-A90D-DE81-3399-C268F6ED19AC}"/>
              </a:ext>
            </a:extLst>
          </p:cNvPr>
          <p:cNvSpPr/>
          <p:nvPr/>
        </p:nvSpPr>
        <p:spPr>
          <a:xfrm>
            <a:off x="2250970" y="5016866"/>
            <a:ext cx="1908908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ent B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0598295-F25A-FBEF-ED20-F97B1B31CD5F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>
          <a:xfrm>
            <a:off x="3205424" y="3759076"/>
            <a:ext cx="0" cy="1257790"/>
          </a:xfrm>
          <a:prstGeom prst="straightConnector1">
            <a:avLst/>
          </a:prstGeom>
          <a:ln w="28575"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A22C5AB-DD88-64D8-D2EB-4755C19193FA}"/>
              </a:ext>
            </a:extLst>
          </p:cNvPr>
          <p:cNvSpPr txBox="1"/>
          <p:nvPr/>
        </p:nvSpPr>
        <p:spPr>
          <a:xfrm>
            <a:off x="4316097" y="2923204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2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1771384-8F07-3C57-885E-C3E48D77B957}"/>
              </a:ext>
            </a:extLst>
          </p:cNvPr>
          <p:cNvSpPr txBox="1"/>
          <p:nvPr/>
        </p:nvSpPr>
        <p:spPr>
          <a:xfrm>
            <a:off x="3427674" y="421521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2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A541CD-B7DE-A032-7E8E-263291E96DD0}"/>
              </a:ext>
            </a:extLst>
          </p:cNvPr>
          <p:cNvSpPr txBox="1"/>
          <p:nvPr/>
        </p:nvSpPr>
        <p:spPr>
          <a:xfrm>
            <a:off x="7354622" y="2332838"/>
            <a:ext cx="663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CP</a:t>
            </a:r>
          </a:p>
        </p:txBody>
      </p:sp>
      <p:cxnSp>
        <p:nvCxnSpPr>
          <p:cNvPr id="30" name="Connector: Curved 29">
            <a:extLst>
              <a:ext uri="{FF2B5EF4-FFF2-40B4-BE49-F238E27FC236}">
                <a16:creationId xmlns:a16="http://schemas.microsoft.com/office/drawing/2014/main" id="{4DB83F4D-7FAB-1DEA-DBD4-CD24223185F0}"/>
              </a:ext>
            </a:extLst>
          </p:cNvPr>
          <p:cNvCxnSpPr>
            <a:cxnSpLocks/>
            <a:stCxn id="5" idx="0"/>
            <a:endCxn id="7" idx="1"/>
          </p:cNvCxnSpPr>
          <p:nvPr/>
        </p:nvCxnSpPr>
        <p:spPr>
          <a:xfrm rot="5400000" flipH="1" flipV="1">
            <a:off x="5395679" y="47878"/>
            <a:ext cx="592867" cy="4973376"/>
          </a:xfrm>
          <a:prstGeom prst="curvedConnector2">
            <a:avLst/>
          </a:prstGeom>
          <a:ln w="28575"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002E40EC-72CA-7B55-791E-2956E26E4FF5}"/>
              </a:ext>
            </a:extLst>
          </p:cNvPr>
          <p:cNvSpPr txBox="1"/>
          <p:nvPr/>
        </p:nvSpPr>
        <p:spPr>
          <a:xfrm>
            <a:off x="5601675" y="1963506"/>
            <a:ext cx="6639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CP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CA9CB08-A645-9E68-42D9-8C772356E4D8}"/>
              </a:ext>
            </a:extLst>
          </p:cNvPr>
          <p:cNvSpPr/>
          <p:nvPr/>
        </p:nvSpPr>
        <p:spPr>
          <a:xfrm>
            <a:off x="5056918" y="4728061"/>
            <a:ext cx="2092529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rketplace # 2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7955045-D5CD-09F6-F108-D331247FAB4E}"/>
              </a:ext>
            </a:extLst>
          </p:cNvPr>
          <p:cNvCxnSpPr>
            <a:cxnSpLocks/>
          </p:cNvCxnSpPr>
          <p:nvPr/>
        </p:nvCxnSpPr>
        <p:spPr>
          <a:xfrm>
            <a:off x="7126166" y="5200037"/>
            <a:ext cx="1001816" cy="285750"/>
          </a:xfrm>
          <a:prstGeom prst="straightConnector1">
            <a:avLst/>
          </a:prstGeom>
          <a:ln w="28575"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9A25A37-4258-D3CE-8A6A-3D7E1086D582}"/>
              </a:ext>
            </a:extLst>
          </p:cNvPr>
          <p:cNvSpPr/>
          <p:nvPr/>
        </p:nvSpPr>
        <p:spPr>
          <a:xfrm>
            <a:off x="8175607" y="5013811"/>
            <a:ext cx="1908908" cy="928077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ol #N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151A735-9A96-64A0-AE5F-4FB80ED63840}"/>
              </a:ext>
            </a:extLst>
          </p:cNvPr>
          <p:cNvCxnSpPr>
            <a:cxnSpLocks/>
          </p:cNvCxnSpPr>
          <p:nvPr/>
        </p:nvCxnSpPr>
        <p:spPr>
          <a:xfrm>
            <a:off x="7168191" y="3342662"/>
            <a:ext cx="1001817" cy="1190626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2ABB102-4C78-6284-98F3-CA83EC42E866}"/>
              </a:ext>
            </a:extLst>
          </p:cNvPr>
          <p:cNvCxnSpPr>
            <a:cxnSpLocks/>
          </p:cNvCxnSpPr>
          <p:nvPr/>
        </p:nvCxnSpPr>
        <p:spPr>
          <a:xfrm>
            <a:off x="4223377" y="3350601"/>
            <a:ext cx="795442" cy="180975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5CD0147-6508-0312-6EDE-536F99252D47}"/>
              </a:ext>
            </a:extLst>
          </p:cNvPr>
          <p:cNvSpPr txBox="1"/>
          <p:nvPr/>
        </p:nvSpPr>
        <p:spPr>
          <a:xfrm>
            <a:off x="4585971" y="4010642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2M</a:t>
            </a:r>
          </a:p>
        </p:txBody>
      </p:sp>
    </p:spTree>
    <p:extLst>
      <p:ext uri="{BB962C8B-B14F-4D97-AF65-F5344CB8AC3E}">
        <p14:creationId xmlns:p14="http://schemas.microsoft.com/office/powerpoint/2010/main" val="104394385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17CF8D-D557-B791-C451-14BD3614E0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944EA2-199B-D3EC-2ABE-3D60018A1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685" y="0"/>
            <a:ext cx="10749367" cy="708917"/>
          </a:xfrm>
        </p:spPr>
        <p:txBody>
          <a:bodyPr/>
          <a:lstStyle/>
          <a:p>
            <a:r>
              <a:rPr kumimoji="1" lang="en-US" altLang="zh-CN"/>
              <a:t>Agent Marketplace –  Case 1</a:t>
            </a:r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36F9E93-0B45-C8A6-BDC5-81F474F4B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79AA88A-3C3E-7C33-3D7A-41D4846669B8}"/>
              </a:ext>
            </a:extLst>
          </p:cNvPr>
          <p:cNvSpPr txBox="1"/>
          <p:nvPr/>
        </p:nvSpPr>
        <p:spPr>
          <a:xfrm>
            <a:off x="188685" y="910353"/>
            <a:ext cx="11106332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er Query  </a:t>
            </a: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“How many minutes does it take to start off from Microsoft Redmond Woods Campus - Building C to the nearest Walmart by bicycle?”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2A832BB-110A-181B-C4DD-257E039783D1}"/>
              </a:ext>
            </a:extLst>
          </p:cNvPr>
          <p:cNvSpPr txBox="1"/>
          <p:nvPr/>
        </p:nvSpPr>
        <p:spPr>
          <a:xfrm>
            <a:off x="348343" y="5074896"/>
            <a:ext cx="729125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Keyword extraction (to support tool selection/matching)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7" name="Picture 26" descr="A screenshot of a computer error&#10;&#10;AI-generated content may be incorrect.">
            <a:extLst>
              <a:ext uri="{FF2B5EF4-FFF2-40B4-BE49-F238E27FC236}">
                <a16:creationId xmlns:a16="http://schemas.microsoft.com/office/drawing/2014/main" id="{BE131AD6-D0A7-B8D9-741C-C3700BB7BD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685" y="2311810"/>
            <a:ext cx="8451534" cy="2278772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7718433-537A-A926-7E7C-AF4F39F94BB7}"/>
              </a:ext>
            </a:extLst>
          </p:cNvPr>
          <p:cNvSpPr txBox="1"/>
          <p:nvPr/>
        </p:nvSpPr>
        <p:spPr>
          <a:xfrm>
            <a:off x="127725" y="1917927"/>
            <a:ext cx="2229395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 </a:t>
            </a: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Task breakdown </a:t>
            </a:r>
          </a:p>
        </p:txBody>
      </p:sp>
      <p:pic>
        <p:nvPicPr>
          <p:cNvPr id="30" name="Picture 29" descr="A screenshot of a computer code&#10;&#10;AI-generated content may be incorrect.">
            <a:extLst>
              <a:ext uri="{FF2B5EF4-FFF2-40B4-BE49-F238E27FC236}">
                <a16:creationId xmlns:a16="http://schemas.microsoft.com/office/drawing/2014/main" id="{28A3DB9B-2FA3-F3B8-11B4-F65F1766E6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725" y="5038009"/>
            <a:ext cx="7267575" cy="181927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9CC339D-0B79-EF03-4165-C3EE7E1CC861}"/>
              </a:ext>
            </a:extLst>
          </p:cNvPr>
          <p:cNvSpPr txBox="1"/>
          <p:nvPr/>
        </p:nvSpPr>
        <p:spPr>
          <a:xfrm>
            <a:off x="127725" y="4650234"/>
            <a:ext cx="2229395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Keyword extraction </a:t>
            </a:r>
          </a:p>
        </p:txBody>
      </p:sp>
    </p:spTree>
    <p:extLst>
      <p:ext uri="{BB962C8B-B14F-4D97-AF65-F5344CB8AC3E}">
        <p14:creationId xmlns:p14="http://schemas.microsoft.com/office/powerpoint/2010/main" val="2083136688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87401-B968-3A36-3A79-156F68D9A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 Light"/>
              </a:rPr>
              <a:t>Agent Marketplace – Case 1</a:t>
            </a:r>
            <a:endParaRPr lang="en-US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330D80-D0AA-B3D4-D731-9CFE9D19D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pic>
        <p:nvPicPr>
          <p:cNvPr id="3" name="Picture 2" descr="A screenshot of a computer program&#10;&#10;AI-generated content may be incorrect.">
            <a:extLst>
              <a:ext uri="{FF2B5EF4-FFF2-40B4-BE49-F238E27FC236}">
                <a16:creationId xmlns:a16="http://schemas.microsoft.com/office/drawing/2014/main" id="{34D7266B-F498-1474-B10F-7FEE0BEDC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5729" y="1066800"/>
            <a:ext cx="9300029" cy="547188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1BE7B7-E4B4-FE45-8829-5B7C9D297FAD}"/>
              </a:ext>
            </a:extLst>
          </p:cNvPr>
          <p:cNvSpPr txBox="1"/>
          <p:nvPr/>
        </p:nvSpPr>
        <p:spPr>
          <a:xfrm>
            <a:off x="313509" y="1303157"/>
            <a:ext cx="2037805" cy="92333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Final selected tools and explanati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0B29C8-1504-86AA-AE9A-4B44E676FA59}"/>
              </a:ext>
            </a:extLst>
          </p:cNvPr>
          <p:cNvSpPr/>
          <p:nvPr/>
        </p:nvSpPr>
        <p:spPr>
          <a:xfrm>
            <a:off x="2835729" y="1066797"/>
            <a:ext cx="4708071" cy="1240973"/>
          </a:xfrm>
          <a:prstGeom prst="rect">
            <a:avLst/>
          </a:prstGeom>
          <a:noFill/>
          <a:ln>
            <a:solidFill>
              <a:srgbClr val="EE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400" b="0" i="0" u="none" strike="noStrike" kern="120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B043ED9-F4C9-821B-83D1-1977B9DF9F62}"/>
              </a:ext>
            </a:extLst>
          </p:cNvPr>
          <p:cNvCxnSpPr/>
          <p:nvPr/>
        </p:nvCxnSpPr>
        <p:spPr>
          <a:xfrm>
            <a:off x="1915886" y="1764822"/>
            <a:ext cx="84473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BD688C7-EAA1-AD7E-C92D-EB60A0D5348A}"/>
              </a:ext>
            </a:extLst>
          </p:cNvPr>
          <p:cNvSpPr txBox="1"/>
          <p:nvPr/>
        </p:nvSpPr>
        <p:spPr>
          <a:xfrm>
            <a:off x="313509" y="2708366"/>
            <a:ext cx="22032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sul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- W/o marketplace,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</a:t>
            </a:r>
            <a:r>
              <a:rPr kumimoji="0" lang="en-US" altLang="zh-CN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orld</a:t>
            </a:r>
            <a:r>
              <a: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used Browse use instea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w/ much lower success rate and much longer execution time</a:t>
            </a:r>
          </a:p>
        </p:txBody>
      </p:sp>
    </p:spTree>
    <p:extLst>
      <p:ext uri="{BB962C8B-B14F-4D97-AF65-F5344CB8AC3E}">
        <p14:creationId xmlns:p14="http://schemas.microsoft.com/office/powerpoint/2010/main" val="3257810655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2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22AB9-9C29-5C46-C914-F77D22EFA3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388691-AEA9-344B-6A22-F7E6F5126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 Light"/>
              </a:rPr>
              <a:t>Agent Marketplace –  Case 2</a:t>
            </a:r>
            <a:endParaRPr lang="en-US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E19C6E-49EC-2ED1-423A-44E9927F8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0A950F-FD82-E5EB-26A3-6F954BED5448}"/>
              </a:ext>
            </a:extLst>
          </p:cNvPr>
          <p:cNvSpPr txBox="1"/>
          <p:nvPr/>
        </p:nvSpPr>
        <p:spPr>
          <a:xfrm>
            <a:off x="217714" y="983343"/>
            <a:ext cx="10682514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 Series 9, Episode 11 of Doctor Who, the Doctor is trapped inside an ever-shifting maze. What is this location called in the official script for the episode? Give the setting exactly as it appears in the first scene heading.</a:t>
            </a:r>
          </a:p>
        </p:txBody>
      </p:sp>
      <p:pic>
        <p:nvPicPr>
          <p:cNvPr id="8" name="Picture 7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3DA1AA62-40B3-4E89-05B2-3CDA4F6DBD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713" y="2089950"/>
            <a:ext cx="11879943" cy="444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2405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626E4D-680D-1F09-1E6C-8C0663DB0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3A0321-74E2-8CF8-E8E3-81781205F0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 Light"/>
              </a:rPr>
              <a:t>Agent Marketplace –  case 3</a:t>
            </a:r>
            <a:endParaRPr lang="en-US">
              <a:solidFill>
                <a:srgbClr val="000000"/>
              </a:solidFill>
              <a:cs typeface="Segoe UI Ligh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CD0122-64A5-F4FC-102A-FE0E91BCE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F14613-56D7-9803-BBC7-5423BE565F05}"/>
              </a:ext>
            </a:extLst>
          </p:cNvPr>
          <p:cNvSpPr txBox="1"/>
          <p:nvPr/>
        </p:nvSpPr>
        <p:spPr>
          <a:xfrm>
            <a:off x="217714" y="983343"/>
            <a:ext cx="1068251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ul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 you get the top 10 comments from Justin Bieber - Off My Face (Live from Paris) from YouTube?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Picture 2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32F86B43-72A9-C0FB-DDB9-FB9870EC032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" t="2018" r="77" b="4288"/>
          <a:stretch>
            <a:fillRect/>
          </a:stretch>
        </p:blipFill>
        <p:spPr>
          <a:xfrm>
            <a:off x="125462" y="1465939"/>
            <a:ext cx="9447928" cy="539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00724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B401-A91A-F34E-81E5-26F9C8D99A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9B65F-28FF-BB56-9C8E-94E70EFC0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rvice structure</a:t>
            </a:r>
          </a:p>
        </p:txBody>
      </p:sp>
      <p:pic>
        <p:nvPicPr>
          <p:cNvPr id="5" name="Picture 4" descr="A diagram of a software application&#10;&#10;AI-generated content may be incorrect.">
            <a:extLst>
              <a:ext uri="{FF2B5EF4-FFF2-40B4-BE49-F238E27FC236}">
                <a16:creationId xmlns:a16="http://schemas.microsoft.com/office/drawing/2014/main" id="{3FA88AD7-FE57-DECA-D2FA-99FD8BC03D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7692" y="1230842"/>
            <a:ext cx="8075083" cy="352424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2DC35B6-2F56-F07E-9E63-3FBFB6142CE5}"/>
              </a:ext>
            </a:extLst>
          </p:cNvPr>
          <p:cNvSpPr txBox="1"/>
          <p:nvPr/>
        </p:nvSpPr>
        <p:spPr>
          <a:xfrm>
            <a:off x="378648" y="1376242"/>
            <a:ext cx="3341586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Exposed HTTP API and MCP AP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Hosted external MCP services as tool invento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Introduced Text Embedding DB to filter tools by keywords</a:t>
            </a:r>
          </a:p>
        </p:txBody>
      </p:sp>
    </p:spTree>
    <p:extLst>
      <p:ext uri="{BB962C8B-B14F-4D97-AF65-F5344CB8AC3E}">
        <p14:creationId xmlns:p14="http://schemas.microsoft.com/office/powerpoint/2010/main" val="138860897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7F03D8-79AC-FD36-6AA0-3A44DA5A38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C6FA351E-7516-606E-60C5-5DB370F429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4549" y="1179958"/>
            <a:ext cx="7084814" cy="641350"/>
          </a:xfrm>
        </p:spPr>
        <p:txBody>
          <a:bodyPr>
            <a:normAutofit/>
          </a:bodyPr>
          <a:lstStyle/>
          <a:p>
            <a:r>
              <a:rPr lang="en-US"/>
              <a:t>GAIA tasks with/without Marketplace too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8E424-EDF3-7127-5833-CA272118D7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811456" y="1821308"/>
            <a:ext cx="5157787" cy="435071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Key Takeaways</a:t>
            </a:r>
            <a:endParaRPr lang="en-US">
              <a:cs typeface="Segoe UI"/>
            </a:endParaRPr>
          </a:p>
          <a:p>
            <a:pPr marL="1028700" lvl="1" indent="-342900">
              <a:lnSpc>
                <a:spcPct val="150000"/>
              </a:lnSpc>
            </a:pPr>
            <a:r>
              <a:rPr lang="en-US" sz="1600" strike="sngStrike"/>
              <a:t>Marketplace adoption does </a:t>
            </a:r>
            <a:r>
              <a:rPr lang="en-US" sz="1600" b="1" strike="sngStrike"/>
              <a:t>not negatively affect </a:t>
            </a:r>
            <a:r>
              <a:rPr lang="en-US" sz="1600" strike="sngStrike"/>
              <a:t>GAIA task performance</a:t>
            </a:r>
            <a:endParaRPr lang="en-US" sz="1600" strike="sngStrike">
              <a:cs typeface="Segoe UI"/>
            </a:endParaRPr>
          </a:p>
          <a:p>
            <a:pPr marL="1028700" lvl="1" indent="-342900">
              <a:lnSpc>
                <a:spcPct val="150000"/>
              </a:lnSpc>
            </a:pPr>
            <a:r>
              <a:rPr lang="en-US" sz="1600" strike="sngStrike"/>
              <a:t>Agents can </a:t>
            </a:r>
            <a:r>
              <a:rPr lang="en-US" sz="1600" b="1" strike="sngStrike"/>
              <a:t>tackle additional tasks </a:t>
            </a:r>
            <a:r>
              <a:rPr lang="en-US" sz="1600" strike="sngStrike"/>
              <a:t>effectively using Marketplace tools</a:t>
            </a:r>
            <a:endParaRPr lang="en-US" sz="1600" strike="sngStrike">
              <a:cs typeface="Segoe UI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A5B70F-1617-CB90-7863-91006470CA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48200" y="6356352"/>
            <a:ext cx="2895600" cy="365125"/>
          </a:xfrm>
        </p:spPr>
        <p:txBody>
          <a:bodyPr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55AEDD-8DA9-3C8D-7F38-67ABB779A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434" y="0"/>
            <a:ext cx="10749367" cy="708917"/>
          </a:xfrm>
        </p:spPr>
        <p:txBody>
          <a:bodyPr anchor="b">
            <a:normAutofit/>
          </a:bodyPr>
          <a:lstStyle/>
          <a:p>
            <a:r>
              <a:rPr lang="en-US"/>
              <a:t>Evaluation of Marketplace Tool Selection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EAE30A4-26BF-B247-D020-3398AD00583E}"/>
              </a:ext>
            </a:extLst>
          </p:cNvPr>
          <p:cNvGraphicFramePr>
            <a:graphicFrameLocks noGrp="1"/>
          </p:cNvGraphicFramePr>
          <p:nvPr/>
        </p:nvGraphicFramePr>
        <p:xfrm>
          <a:off x="451763" y="2401691"/>
          <a:ext cx="6298387" cy="187011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536193">
                  <a:extLst>
                    <a:ext uri="{9D8B030D-6E8A-4147-A177-3AD203B41FA5}">
                      <a16:colId xmlns:a16="http://schemas.microsoft.com/office/drawing/2014/main" val="1885637821"/>
                    </a:ext>
                  </a:extLst>
                </a:gridCol>
                <a:gridCol w="1784909">
                  <a:extLst>
                    <a:ext uri="{9D8B030D-6E8A-4147-A177-3AD203B41FA5}">
                      <a16:colId xmlns:a16="http://schemas.microsoft.com/office/drawing/2014/main" val="4211928821"/>
                    </a:ext>
                  </a:extLst>
                </a:gridCol>
                <a:gridCol w="1814169">
                  <a:extLst>
                    <a:ext uri="{9D8B030D-6E8A-4147-A177-3AD203B41FA5}">
                      <a16:colId xmlns:a16="http://schemas.microsoft.com/office/drawing/2014/main" val="379734734"/>
                    </a:ext>
                  </a:extLst>
                </a:gridCol>
                <a:gridCol w="1163116">
                  <a:extLst>
                    <a:ext uri="{9D8B030D-6E8A-4147-A177-3AD203B41FA5}">
                      <a16:colId xmlns:a16="http://schemas.microsoft.com/office/drawing/2014/main" val="3376275194"/>
                    </a:ext>
                  </a:extLst>
                </a:gridCol>
              </a:tblGrid>
              <a:tr h="553553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Metrics</a:t>
                      </a:r>
                    </a:p>
                  </a:txBody>
                  <a:tcPr marL="74804" marR="74804" marT="37402" marB="37402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w/o Marketplace</a:t>
                      </a:r>
                    </a:p>
                  </a:txBody>
                  <a:tcPr marL="74804" marR="74804" marT="37402" marB="37402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w/ Marketplace</a:t>
                      </a:r>
                    </a:p>
                  </a:txBody>
                  <a:tcPr marL="74804" marR="74804" marT="37402" marB="37402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iff</a:t>
                      </a:r>
                    </a:p>
                  </a:txBody>
                  <a:tcPr marL="74804" marR="74804" marT="37402" marB="37402" anchor="ctr"/>
                </a:tc>
                <a:extLst>
                  <a:ext uri="{0D108BD9-81ED-4DB2-BD59-A6C34878D82A}">
                    <a16:rowId xmlns:a16="http://schemas.microsoft.com/office/drawing/2014/main" val="520517442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Accuracy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82%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76%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FF0000"/>
                          </a:solidFill>
                          <a:effectLst/>
                          <a:latin typeface="Segoe UI"/>
                        </a:rPr>
                        <a:t>-7.3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1406025752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Execution Time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1878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2917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FF0000"/>
                          </a:solidFill>
                          <a:effectLst/>
                          <a:latin typeface="Segoe UI"/>
                        </a:rPr>
                        <a:t>+55.3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1632377020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Avg. Step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6.2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9.2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FF0000"/>
                          </a:solidFill>
                          <a:effectLst/>
                          <a:latin typeface="Segoe UI"/>
                        </a:rPr>
                        <a:t>+48.4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2883438943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Tool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5.3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8.2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FF0000"/>
                          </a:solidFill>
                          <a:effectLst/>
                          <a:latin typeface="Segoe UI"/>
                        </a:rPr>
                        <a:t>+54.7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298009059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86A6034-E2D9-DA80-ECEA-07B984A5BDDB}"/>
              </a:ext>
            </a:extLst>
          </p:cNvPr>
          <p:cNvSpPr txBox="1"/>
          <p:nvPr/>
        </p:nvSpPr>
        <p:spPr>
          <a:xfrm>
            <a:off x="449942" y="2031999"/>
            <a:ext cx="365850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L1 10 tasks, each 5 runs</a:t>
            </a: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82D0904-6F89-2C23-0F06-C94158199F5B}"/>
              </a:ext>
            </a:extLst>
          </p:cNvPr>
          <p:cNvGraphicFramePr>
            <a:graphicFrameLocks noGrp="1"/>
          </p:cNvGraphicFramePr>
          <p:nvPr/>
        </p:nvGraphicFramePr>
        <p:xfrm>
          <a:off x="451763" y="4751191"/>
          <a:ext cx="6298387" cy="187011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536193">
                  <a:extLst>
                    <a:ext uri="{9D8B030D-6E8A-4147-A177-3AD203B41FA5}">
                      <a16:colId xmlns:a16="http://schemas.microsoft.com/office/drawing/2014/main" val="1885637821"/>
                    </a:ext>
                  </a:extLst>
                </a:gridCol>
                <a:gridCol w="1784909">
                  <a:extLst>
                    <a:ext uri="{9D8B030D-6E8A-4147-A177-3AD203B41FA5}">
                      <a16:colId xmlns:a16="http://schemas.microsoft.com/office/drawing/2014/main" val="4211928821"/>
                    </a:ext>
                  </a:extLst>
                </a:gridCol>
                <a:gridCol w="1814169">
                  <a:extLst>
                    <a:ext uri="{9D8B030D-6E8A-4147-A177-3AD203B41FA5}">
                      <a16:colId xmlns:a16="http://schemas.microsoft.com/office/drawing/2014/main" val="379734734"/>
                    </a:ext>
                  </a:extLst>
                </a:gridCol>
                <a:gridCol w="1163116">
                  <a:extLst>
                    <a:ext uri="{9D8B030D-6E8A-4147-A177-3AD203B41FA5}">
                      <a16:colId xmlns:a16="http://schemas.microsoft.com/office/drawing/2014/main" val="3376275194"/>
                    </a:ext>
                  </a:extLst>
                </a:gridCol>
              </a:tblGrid>
              <a:tr h="553553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Metrics</a:t>
                      </a:r>
                    </a:p>
                  </a:txBody>
                  <a:tcPr marL="74804" marR="74804" marT="37402" marB="37402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w/o Marketplace</a:t>
                      </a:r>
                    </a:p>
                  </a:txBody>
                  <a:tcPr marL="74804" marR="74804" marT="37402" marB="37402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w/ Marketplace</a:t>
                      </a:r>
                    </a:p>
                  </a:txBody>
                  <a:tcPr marL="74804" marR="74804" marT="37402" marB="37402" anchor="ctr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iff</a:t>
                      </a:r>
                    </a:p>
                  </a:txBody>
                  <a:tcPr marL="74804" marR="74804" marT="37402" marB="37402" anchor="ctr"/>
                </a:tc>
                <a:extLst>
                  <a:ext uri="{0D108BD9-81ED-4DB2-BD59-A6C34878D82A}">
                    <a16:rowId xmlns:a16="http://schemas.microsoft.com/office/drawing/2014/main" val="520517442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Accuracy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46%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78%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00B050"/>
                          </a:solidFill>
                          <a:effectLst/>
                          <a:latin typeface="Segoe UI"/>
                        </a:rPr>
                        <a:t>+69.6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1406025752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Execution Time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5319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4577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00B050"/>
                          </a:solidFill>
                          <a:effectLst/>
                          <a:latin typeface="Segoe UI"/>
                        </a:rPr>
                        <a:t>-13.9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1632377020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Avg. Step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9.6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11.1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FF0000"/>
                          </a:solidFill>
                          <a:effectLst/>
                          <a:latin typeface="Segoe UI"/>
                        </a:rPr>
                        <a:t>+15.6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2883438943"/>
                  </a:ext>
                </a:extLst>
              </a:tr>
              <a:tr h="329140"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/>
                        <a:t>Tools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fontAlgn="b">
                        <a:buNone/>
                      </a:pPr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23.4</a:t>
                      </a:r>
                    </a:p>
                  </a:txBody>
                  <a:tcPr marL="74804" marR="74804" marT="37402" marB="37402" anchor="b"/>
                </a:tc>
                <a:tc>
                  <a:txBody>
                    <a:bodyPr/>
                    <a:lstStyle/>
                    <a:p>
                      <a:pPr algn="r" rtl="0" fontAlgn="b">
                        <a:buNone/>
                      </a:pPr>
                      <a:r>
                        <a:rPr lang="en-US" sz="1500" b="0" i="0" u="none" strike="noStrike">
                          <a:solidFill>
                            <a:srgbClr val="FF0000"/>
                          </a:solidFill>
                          <a:effectLst/>
                          <a:latin typeface="Segoe UI"/>
                        </a:rPr>
                        <a:t>+17%</a:t>
                      </a:r>
                    </a:p>
                  </a:txBody>
                  <a:tcPr marL="74804" marR="74804" marT="37402" marB="37402" anchor="b"/>
                </a:tc>
                <a:extLst>
                  <a:ext uri="{0D108BD9-81ED-4DB2-BD59-A6C34878D82A}">
                    <a16:rowId xmlns:a16="http://schemas.microsoft.com/office/drawing/2014/main" val="2980090594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7A0E222-9BF3-CD49-E491-44525C3C25D6}"/>
              </a:ext>
            </a:extLst>
          </p:cNvPr>
          <p:cNvSpPr txBox="1"/>
          <p:nvPr/>
        </p:nvSpPr>
        <p:spPr>
          <a:xfrm>
            <a:off x="449942" y="4381498"/>
            <a:ext cx="365850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L2 10 tasks, each 5 run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0093155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A839B-CA2B-B327-6D0C-390187FC0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have accomplished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C68E228-68AC-EB53-3D5D-4603E6C02D8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66133" y="1080848"/>
          <a:ext cx="10266215" cy="5052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946">
                  <a:extLst>
                    <a:ext uri="{9D8B030D-6E8A-4147-A177-3AD203B41FA5}">
                      <a16:colId xmlns:a16="http://schemas.microsoft.com/office/drawing/2014/main" val="1196787721"/>
                    </a:ext>
                  </a:extLst>
                </a:gridCol>
                <a:gridCol w="4841921">
                  <a:extLst>
                    <a:ext uri="{9D8B030D-6E8A-4147-A177-3AD203B41FA5}">
                      <a16:colId xmlns:a16="http://schemas.microsoft.com/office/drawing/2014/main" val="608005161"/>
                    </a:ext>
                  </a:extLst>
                </a:gridCol>
                <a:gridCol w="3412348">
                  <a:extLst>
                    <a:ext uri="{9D8B030D-6E8A-4147-A177-3AD203B41FA5}">
                      <a16:colId xmlns:a16="http://schemas.microsoft.com/office/drawing/2014/main" val="401198003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600"/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as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1724474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r>
                        <a:rPr lang="en-US" sz="1400"/>
                        <a:t>Servic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Tool retrieval Express.JS endpoi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HTTP endpoint for Aworld direct u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1406902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CP server for tool invoc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CP layer for LLM cal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3374474"/>
                  </a:ext>
                </a:extLst>
              </a:tr>
              <a:tr h="4422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Tool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Defined and implemented unified tool schema &amp; registr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255983"/>
                  </a:ext>
                </a:extLst>
              </a:tr>
              <a:tr h="442286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nboarded top Smithery.ai tools and Aworld GAIA 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otal: 34 MCP servers/133 tools (Smithery: 11/74 tools; Aworld: 23/5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7575442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Service and tool invoke authent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ntraID OAuth integ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2358653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Tool selec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ask breakdown &amp; keyword extr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8798482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/>
                        <a:t>Keyword text embedding search based on tool meta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121943"/>
                  </a:ext>
                </a:extLst>
              </a:tr>
              <a:tr h="4422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rompt based tool selection using tool metadata &amp; task context 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5818124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PI error hand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3009592"/>
                  </a:ext>
                </a:extLst>
              </a:tr>
              <a:tr h="3705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Telemetry &amp; 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Telemetry schema 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94519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Logging infrastructu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ria events colle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8396639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xecution log col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1091198"/>
                  </a:ext>
                </a:extLst>
              </a:tr>
              <a:tr h="316538"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838507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AE4C63-4088-B9F0-A8BD-D918F429A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5827330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qjPIURTby9IehS0Xdi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The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noFill/>
        </a:ln>
        <a:effectLst/>
      </a:spPr>
      <a:bodyPr rtlCol="0" anchor="ctr"/>
      <a:lstStyle>
        <a:defPPr algn="ctr">
          <a:defRPr kumimoji="1" sz="1400" dirty="0" smtClean="0">
            <a:solidFill>
              <a:srgbClr val="4472C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82E94842-8933-4AB7-8378-718754E78C29}" vid="{8CADCA7E-C616-437D-A2C2-86F5CBBBDF1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498</Words>
  <Application>Microsoft Office PowerPoint</Application>
  <PresentationFormat>Widescreen</PresentationFormat>
  <Paragraphs>414</Paragraphs>
  <Slides>22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等线</vt:lpstr>
      <vt:lpstr>time</vt:lpstr>
      <vt:lpstr>Aptos</vt:lpstr>
      <vt:lpstr>Aptos Display</vt:lpstr>
      <vt:lpstr>Arial</vt:lpstr>
      <vt:lpstr>Calibri</vt:lpstr>
      <vt:lpstr>Courier New</vt:lpstr>
      <vt:lpstr>Segoe UI</vt:lpstr>
      <vt:lpstr>Segoe UI Light</vt:lpstr>
      <vt:lpstr>Times New Roman</vt:lpstr>
      <vt:lpstr>Office Theme</vt:lpstr>
      <vt:lpstr>1_Theme1</vt:lpstr>
      <vt:lpstr>think-cell Slide</vt:lpstr>
      <vt:lpstr>PowerPoint Presentation</vt:lpstr>
      <vt:lpstr>Agent Marketplace MVP</vt:lpstr>
      <vt:lpstr>Agent Marketplace –  Case 1</vt:lpstr>
      <vt:lpstr>Agent Marketplace – Case 1</vt:lpstr>
      <vt:lpstr>Agent Marketplace –  Case 2</vt:lpstr>
      <vt:lpstr>Agent Marketplace –  case 3</vt:lpstr>
      <vt:lpstr>Service structure</vt:lpstr>
      <vt:lpstr>Evaluation of Marketplace Tool Selection</vt:lpstr>
      <vt:lpstr>What have accomplished</vt:lpstr>
      <vt:lpstr>Onboarded MCP tools</vt:lpstr>
      <vt:lpstr>Collected logs</vt:lpstr>
      <vt:lpstr>How we plan to use logs </vt:lpstr>
      <vt:lpstr>Learnings</vt:lpstr>
      <vt:lpstr>Agent Marketplace Next Steps</vt:lpstr>
      <vt:lpstr>Tool Selection Benchmarks</vt:lpstr>
      <vt:lpstr>Prompt-Based and Dynamic Tool-Use Strategies (Non-Training) </vt:lpstr>
      <vt:lpstr>Prompt-Based and Dynamic Tool-Use Strategies (Non-Training) </vt:lpstr>
      <vt:lpstr>PowerPoint Presentation</vt:lpstr>
      <vt:lpstr>Learning-Based (RL and Fine-Tuning) Frameworks for Tool Selection </vt:lpstr>
      <vt:lpstr>Learning-Based (RL and Fine-Tuning) Frameworks for Tool Selection </vt:lpstr>
      <vt:lpstr>A2M Protocol</vt:lpstr>
      <vt:lpstr>A2M &amp; MCP/A2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eo Cheng</dc:creator>
  <cp:lastModifiedBy>Neo Cheng</cp:lastModifiedBy>
  <cp:revision>1</cp:revision>
  <dcterms:created xsi:type="dcterms:W3CDTF">2025-10-20T03:30:36Z</dcterms:created>
  <dcterms:modified xsi:type="dcterms:W3CDTF">2025-10-20T03:32:36Z</dcterms:modified>
</cp:coreProperties>
</file>